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6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888" r:id="rId1"/>
    <p:sldMasterId id="2147483788" r:id="rId2"/>
    <p:sldMasterId id="2147483808" r:id="rId3"/>
    <p:sldMasterId id="2147483828" r:id="rId4"/>
    <p:sldMasterId id="2147483848" r:id="rId5"/>
    <p:sldMasterId id="2147483868" r:id="rId6"/>
  </p:sldMasterIdLst>
  <p:sldIdLst>
    <p:sldId id="263" r:id="rId7"/>
    <p:sldId id="264" r:id="rId8"/>
    <p:sldId id="265" r:id="rId9"/>
    <p:sldId id="259" r:id="rId10"/>
    <p:sldId id="260" r:id="rId11"/>
    <p:sldId id="261" r:id="rId12"/>
    <p:sldId id="262" r:id="rId13"/>
  </p:sldIdLst>
  <p:sldSz cx="12192000" cy="6858000"/>
  <p:notesSz cx="6858000" cy="9144000"/>
  <p:embeddedFontLst>
    <p:embeddedFont>
      <p:font typeface="Credit Suisse Headline" panose="020B0504030101020102" pitchFamily="34" charset="0"/>
      <p:regular r:id="rId14"/>
      <p:bold r:id="rId15"/>
    </p:embeddedFont>
    <p:embeddedFont>
      <p:font typeface="Credit Suisse Type Light" panose="020B0303040503020204" pitchFamily="34" charset="0"/>
      <p:regular r:id="rId16"/>
      <p:bold r:id="rId17"/>
      <p:italic r:id="rId18"/>
    </p:embeddedFont>
    <p:embeddedFont>
      <p:font typeface="Credit Suisse Type Roman" panose="020B0503040503020204" pitchFamily="34" charset="0"/>
      <p:regular r:id="rId19"/>
      <p:bold r:id="rId20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49">
          <p15:clr>
            <a:srgbClr val="A4A3A4"/>
          </p15:clr>
        </p15:guide>
        <p15:guide id="2" pos="3908">
          <p15:clr>
            <a:srgbClr val="A4A3A4"/>
          </p15:clr>
        </p15:guide>
        <p15:guide id="3" orient="horz" pos="3793">
          <p15:clr>
            <a:srgbClr val="A4A3A4"/>
          </p15:clr>
        </p15:guide>
        <p15:guide id="4" pos="3772">
          <p15:clr>
            <a:srgbClr val="A4A3A4"/>
          </p15:clr>
        </p15:guide>
        <p15:guide id="5" pos="143">
          <p15:clr>
            <a:srgbClr val="A4A3A4"/>
          </p15:clr>
        </p15:guide>
        <p15:guide id="6" pos="753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35" autoAdjust="0"/>
    <p:restoredTop sz="94660"/>
  </p:normalViewPr>
  <p:slideViewPr>
    <p:cSldViewPr snapToGrid="0" showGuides="1">
      <p:cViewPr varScale="1">
        <p:scale>
          <a:sx n="61" d="100"/>
          <a:sy n="61" d="100"/>
        </p:scale>
        <p:origin x="876" y="42"/>
      </p:cViewPr>
      <p:guideLst>
        <p:guide orient="horz" pos="1049"/>
        <p:guide pos="3908"/>
        <p:guide orient="horz" pos="3793"/>
        <p:guide pos="3772"/>
        <p:guide pos="143"/>
        <p:guide pos="7537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font" Target="fonts/font5.fntdata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font" Target="fonts/font4.fntdata"/><Relationship Id="rId2" Type="http://schemas.openxmlformats.org/officeDocument/2006/relationships/slideMaster" Target="slideMasters/slideMaster2.xml"/><Relationship Id="rId16" Type="http://schemas.openxmlformats.org/officeDocument/2006/relationships/font" Target="fonts/font3.fntdata"/><Relationship Id="rId20" Type="http://schemas.openxmlformats.org/officeDocument/2006/relationships/font" Target="fonts/font7.fntdata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font" Target="fonts/font2.fntdata"/><Relationship Id="rId23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font" Target="fonts/font6.fntdata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font" Target="fonts/font1.fntdata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: Shape 19">
            <a:extLst>
              <a:ext uri="{FF2B5EF4-FFF2-40B4-BE49-F238E27FC236}">
                <a16:creationId xmlns:a16="http://schemas.microsoft.com/office/drawing/2014/main" id="{BF27BF86-1C59-440E-894C-FA93E0BDB21C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A7BBD4"/>
              </a:gs>
              <a:gs pos="100000">
                <a:srgbClr val="D7E4F6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82BFA7C-8CC0-46BD-86F3-9518A7539D6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2925312" y="697362"/>
            <a:ext cx="6372000" cy="447635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8DF27F43-6147-4006-B141-A88A3644CE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7EE0C09F-1761-489F-A154-87B8F84EF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8" name="Text Placeholder 20">
            <a:extLst>
              <a:ext uri="{FF2B5EF4-FFF2-40B4-BE49-F238E27FC236}">
                <a16:creationId xmlns:a16="http://schemas.microsoft.com/office/drawing/2014/main" id="{BB2C3296-6748-4658-9068-DDA715E120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-24680" y="-36004"/>
            <a:ext cx="0" cy="0"/>
          </a:xfrm>
          <a:noFill/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845FD22-7A3A-4557-8B9A-AC8987A3EA3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3482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(subpoi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: Shape 4">
            <a:extLst>
              <a:ext uri="{FF2B5EF4-FFF2-40B4-BE49-F238E27FC236}">
                <a16:creationId xmlns:a16="http://schemas.microsoft.com/office/drawing/2014/main" id="{F4B0B860-97E1-4E48-AF47-5ECE2C8E2E4A}"/>
              </a:ext>
            </a:extLst>
          </p:cNvPr>
          <p:cNvSpPr/>
          <p:nvPr/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3008 w 11736000"/>
              <a:gd name="connsiteY4" fmla="*/ 5688632 h 5796644"/>
              <a:gd name="connsiteX5" fmla="*/ 9072000 w 11736000"/>
              <a:gd name="connsiteY5" fmla="*/ 5688632 h 5796644"/>
              <a:gd name="connsiteX6" fmla="*/ 9072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5220580 h 5796644"/>
              <a:gd name="connsiteX10" fmla="*/ 0 w 11736000"/>
              <a:gd name="connsiteY10" fmla="*/ 1877957 h 5796644"/>
              <a:gd name="connsiteX11" fmla="*/ 540060 w 11736000"/>
              <a:gd name="connsiteY11" fmla="*/ 1877957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3008 w 11736000"/>
              <a:gd name="connsiteY4" fmla="*/ 5688632 h 5796644"/>
              <a:gd name="connsiteX5" fmla="*/ 9072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5688632 h 5796644"/>
              <a:gd name="connsiteX8" fmla="*/ 0 w 11736000"/>
              <a:gd name="connsiteY8" fmla="*/ 5220580 h 5796644"/>
              <a:gd name="connsiteX9" fmla="*/ 0 w 11736000"/>
              <a:gd name="connsiteY9" fmla="*/ 1877957 h 5796644"/>
              <a:gd name="connsiteX10" fmla="*/ 540060 w 11736000"/>
              <a:gd name="connsiteY10" fmla="*/ 1877957 h 5796644"/>
              <a:gd name="connsiteX11" fmla="*/ 540060 w 11736000"/>
              <a:gd name="connsiteY11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688632 h 5796644"/>
              <a:gd name="connsiteX7" fmla="*/ 0 w 11736000"/>
              <a:gd name="connsiteY7" fmla="*/ 5220580 h 5796644"/>
              <a:gd name="connsiteX8" fmla="*/ 0 w 11736000"/>
              <a:gd name="connsiteY8" fmla="*/ 1877957 h 5796644"/>
              <a:gd name="connsiteX9" fmla="*/ 540060 w 11736000"/>
              <a:gd name="connsiteY9" fmla="*/ 1877957 h 5796644"/>
              <a:gd name="connsiteX10" fmla="*/ 540060 w 11736000"/>
              <a:gd name="connsiteY10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220580 h 5796644"/>
              <a:gd name="connsiteX7" fmla="*/ 0 w 11736000"/>
              <a:gd name="connsiteY7" fmla="*/ 1877957 h 5796644"/>
              <a:gd name="connsiteX8" fmla="*/ 540060 w 11736000"/>
              <a:gd name="connsiteY8" fmla="*/ 1877957 h 5796644"/>
              <a:gd name="connsiteX9" fmla="*/ 540060 w 11736000"/>
              <a:gd name="connsiteY9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1877957 h 5796644"/>
              <a:gd name="connsiteX7" fmla="*/ 540060 w 11736000"/>
              <a:gd name="connsiteY7" fmla="*/ 1877957 h 5796644"/>
              <a:gd name="connsiteX8" fmla="*/ 540060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540060" y="0"/>
                </a:moveTo>
                <a:lnTo>
                  <a:pt x="11736000" y="0"/>
                </a:lnTo>
                <a:lnTo>
                  <a:pt x="11736000" y="4608512"/>
                </a:lnTo>
                <a:lnTo>
                  <a:pt x="9073008" y="4608512"/>
                </a:lnTo>
                <a:lnTo>
                  <a:pt x="9072000" y="5796644"/>
                </a:lnTo>
                <a:lnTo>
                  <a:pt x="0" y="5796644"/>
                </a:lnTo>
                <a:lnTo>
                  <a:pt x="0" y="1877957"/>
                </a:lnTo>
                <a:lnTo>
                  <a:pt x="540060" y="1877957"/>
                </a:lnTo>
                <a:lnTo>
                  <a:pt x="540060" y="0"/>
                </a:lnTo>
                <a:close/>
              </a:path>
            </a:pathLst>
          </a:custGeom>
          <a:solidFill>
            <a:srgbClr val="D7E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1736812"/>
            <a:ext cx="9540000" cy="470898"/>
          </a:xfrm>
        </p:spPr>
        <p:txBody>
          <a:bodyPr vert="horz" anchor="t"/>
          <a:lstStyle>
            <a:lvl1pPr>
              <a:defRPr sz="3400"/>
            </a:lvl1pPr>
          </a:lstStyle>
          <a:p>
            <a:r>
              <a:rPr lang="en-US" noProof="0" dirty="0"/>
              <a:t>Click to edit chapter subpoint</a:t>
            </a:r>
          </a:p>
        </p:txBody>
      </p:sp>
    </p:spTree>
    <p:extLst>
      <p:ext uri="{BB962C8B-B14F-4D97-AF65-F5344CB8AC3E}">
        <p14:creationId xmlns:p14="http://schemas.microsoft.com/office/powerpoint/2010/main" val="174996298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(subpoi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: Shape 4">
            <a:extLst>
              <a:ext uri="{FF2B5EF4-FFF2-40B4-BE49-F238E27FC236}">
                <a16:creationId xmlns:a16="http://schemas.microsoft.com/office/drawing/2014/main" id="{F4B0B860-97E1-4E48-AF47-5ECE2C8E2E4A}"/>
              </a:ext>
            </a:extLst>
          </p:cNvPr>
          <p:cNvSpPr/>
          <p:nvPr/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3008 w 11736000"/>
              <a:gd name="connsiteY4" fmla="*/ 5688632 h 5796644"/>
              <a:gd name="connsiteX5" fmla="*/ 9072000 w 11736000"/>
              <a:gd name="connsiteY5" fmla="*/ 5688632 h 5796644"/>
              <a:gd name="connsiteX6" fmla="*/ 9072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5220580 h 5796644"/>
              <a:gd name="connsiteX10" fmla="*/ 0 w 11736000"/>
              <a:gd name="connsiteY10" fmla="*/ 1877957 h 5796644"/>
              <a:gd name="connsiteX11" fmla="*/ 540060 w 11736000"/>
              <a:gd name="connsiteY11" fmla="*/ 1877957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3008 w 11736000"/>
              <a:gd name="connsiteY4" fmla="*/ 5688632 h 5796644"/>
              <a:gd name="connsiteX5" fmla="*/ 9072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5688632 h 5796644"/>
              <a:gd name="connsiteX8" fmla="*/ 0 w 11736000"/>
              <a:gd name="connsiteY8" fmla="*/ 5220580 h 5796644"/>
              <a:gd name="connsiteX9" fmla="*/ 0 w 11736000"/>
              <a:gd name="connsiteY9" fmla="*/ 1877957 h 5796644"/>
              <a:gd name="connsiteX10" fmla="*/ 540060 w 11736000"/>
              <a:gd name="connsiteY10" fmla="*/ 1877957 h 5796644"/>
              <a:gd name="connsiteX11" fmla="*/ 540060 w 11736000"/>
              <a:gd name="connsiteY11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688632 h 5796644"/>
              <a:gd name="connsiteX7" fmla="*/ 0 w 11736000"/>
              <a:gd name="connsiteY7" fmla="*/ 5220580 h 5796644"/>
              <a:gd name="connsiteX8" fmla="*/ 0 w 11736000"/>
              <a:gd name="connsiteY8" fmla="*/ 1877957 h 5796644"/>
              <a:gd name="connsiteX9" fmla="*/ 540060 w 11736000"/>
              <a:gd name="connsiteY9" fmla="*/ 1877957 h 5796644"/>
              <a:gd name="connsiteX10" fmla="*/ 540060 w 11736000"/>
              <a:gd name="connsiteY10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220580 h 5796644"/>
              <a:gd name="connsiteX7" fmla="*/ 0 w 11736000"/>
              <a:gd name="connsiteY7" fmla="*/ 1877957 h 5796644"/>
              <a:gd name="connsiteX8" fmla="*/ 540060 w 11736000"/>
              <a:gd name="connsiteY8" fmla="*/ 1877957 h 5796644"/>
              <a:gd name="connsiteX9" fmla="*/ 540060 w 11736000"/>
              <a:gd name="connsiteY9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1877957 h 5796644"/>
              <a:gd name="connsiteX7" fmla="*/ 540060 w 11736000"/>
              <a:gd name="connsiteY7" fmla="*/ 1877957 h 5796644"/>
              <a:gd name="connsiteX8" fmla="*/ 540060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540060" y="0"/>
                </a:moveTo>
                <a:lnTo>
                  <a:pt x="11736000" y="0"/>
                </a:lnTo>
                <a:lnTo>
                  <a:pt x="11736000" y="4608512"/>
                </a:lnTo>
                <a:lnTo>
                  <a:pt x="9073008" y="4608512"/>
                </a:lnTo>
                <a:lnTo>
                  <a:pt x="9072000" y="5796644"/>
                </a:lnTo>
                <a:lnTo>
                  <a:pt x="0" y="5796644"/>
                </a:lnTo>
                <a:lnTo>
                  <a:pt x="0" y="1877957"/>
                </a:lnTo>
                <a:lnTo>
                  <a:pt x="540060" y="1877957"/>
                </a:lnTo>
                <a:lnTo>
                  <a:pt x="540060" y="0"/>
                </a:lnTo>
                <a:close/>
              </a:path>
            </a:pathLst>
          </a:custGeom>
          <a:solidFill>
            <a:srgbClr val="F7DD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1736812"/>
            <a:ext cx="9540000" cy="470898"/>
          </a:xfrm>
        </p:spPr>
        <p:txBody>
          <a:bodyPr vert="horz" anchor="t"/>
          <a:lstStyle>
            <a:lvl1pPr>
              <a:defRPr sz="3400"/>
            </a:lvl1pPr>
          </a:lstStyle>
          <a:p>
            <a:r>
              <a:rPr lang="en-US" noProof="0" dirty="0"/>
              <a:t>Click to edit chapter subpoint</a:t>
            </a:r>
          </a:p>
        </p:txBody>
      </p:sp>
    </p:spTree>
    <p:extLst>
      <p:ext uri="{BB962C8B-B14F-4D97-AF65-F5344CB8AC3E}">
        <p14:creationId xmlns:p14="http://schemas.microsoft.com/office/powerpoint/2010/main" val="175552921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11736000" cy="4356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142016882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04012" y="1664804"/>
            <a:ext cx="576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309634556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378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1664804"/>
            <a:ext cx="3744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84232" y="1664804"/>
            <a:ext cx="378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18527768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525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3941FEE-12D0-4301-BC5C-B2AD93E102BB}"/>
              </a:ext>
            </a:extLst>
          </p:cNvPr>
          <p:cNvSpPr/>
          <p:nvPr/>
        </p:nvSpPr>
        <p:spPr bwMode="gray">
          <a:xfrm>
            <a:off x="227348" y="1448780"/>
            <a:ext cx="11736000" cy="4572000"/>
          </a:xfrm>
          <a:prstGeom prst="rect">
            <a:avLst/>
          </a:prstGeom>
          <a:solidFill>
            <a:srgbClr val="F7DD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 lIns="216000" rIns="108000" bIns="21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6000" y="1448780"/>
            <a:ext cx="5868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42155609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 lIns="0" rIns="10800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6000" y="1448780"/>
            <a:ext cx="5868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28334417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7" y="1664804"/>
            <a:ext cx="3780000" cy="4356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050283F-AA6E-467A-B7F1-94C34E5D4D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1664804"/>
            <a:ext cx="3744000" cy="4356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69051D0B-3FCC-4D48-8087-C71E10FA7B0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184232" y="1448780"/>
            <a:ext cx="3780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784505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25">
          <p15:clr>
            <a:srgbClr val="FBAE40"/>
          </p15:clr>
        </p15:guide>
        <p15:guide id="2" pos="2661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3717032"/>
            <a:ext cx="3780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3717032"/>
            <a:ext cx="3744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84232" y="3717032"/>
            <a:ext cx="3780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4" name="Picture Placeholder 38">
            <a:extLst>
              <a:ext uri="{FF2B5EF4-FFF2-40B4-BE49-F238E27FC236}">
                <a16:creationId xmlns:a16="http://schemas.microsoft.com/office/drawing/2014/main" id="{653CE5C9-004D-47BC-8A1D-014977EE421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1448780"/>
            <a:ext cx="3780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7" name="Picture Placeholder 38">
            <a:extLst>
              <a:ext uri="{FF2B5EF4-FFF2-40B4-BE49-F238E27FC236}">
                <a16:creationId xmlns:a16="http://schemas.microsoft.com/office/drawing/2014/main" id="{05A742C7-80B2-486A-90F8-02A76FC5306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4223794" y="1448780"/>
            <a:ext cx="3744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8" name="Picture Placeholder 38">
            <a:extLst>
              <a:ext uri="{FF2B5EF4-FFF2-40B4-BE49-F238E27FC236}">
                <a16:creationId xmlns:a16="http://schemas.microsoft.com/office/drawing/2014/main" id="{A3414379-7E42-45F0-B47B-9D12E2F5D0B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8184232" y="1448780"/>
            <a:ext cx="3780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21845866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525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  <a:endParaRPr lang="en-US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40853420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11736000" cy="4356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37484442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04012" y="1664804"/>
            <a:ext cx="576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21889353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378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1664804"/>
            <a:ext cx="3744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84232" y="1664804"/>
            <a:ext cx="378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22923643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525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3941FEE-12D0-4301-BC5C-B2AD93E102BB}"/>
              </a:ext>
            </a:extLst>
          </p:cNvPr>
          <p:cNvSpPr/>
          <p:nvPr/>
        </p:nvSpPr>
        <p:spPr bwMode="gray">
          <a:xfrm>
            <a:off x="227348" y="1448780"/>
            <a:ext cx="11736000" cy="4572000"/>
          </a:xfrm>
          <a:prstGeom prst="rect">
            <a:avLst/>
          </a:prstGeom>
          <a:solidFill>
            <a:srgbClr val="D7E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 lIns="216000" rIns="108000" bIns="21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6000" y="1448780"/>
            <a:ext cx="5868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3728499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 lIns="0" rIns="10800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6000" y="1448780"/>
            <a:ext cx="5868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20520195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7" y="1664804"/>
            <a:ext cx="3780000" cy="4356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050283F-AA6E-467A-B7F1-94C34E5D4D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1664804"/>
            <a:ext cx="3744000" cy="4356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69051D0B-3FCC-4D48-8087-C71E10FA7B0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184232" y="1448780"/>
            <a:ext cx="3780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6301789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25">
          <p15:clr>
            <a:srgbClr val="FBAE40"/>
          </p15:clr>
        </p15:guide>
        <p15:guide id="2" pos="2661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3717032"/>
            <a:ext cx="3780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3717032"/>
            <a:ext cx="3744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84232" y="3717032"/>
            <a:ext cx="3780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4" name="Picture Placeholder 38">
            <a:extLst>
              <a:ext uri="{FF2B5EF4-FFF2-40B4-BE49-F238E27FC236}">
                <a16:creationId xmlns:a16="http://schemas.microsoft.com/office/drawing/2014/main" id="{653CE5C9-004D-47BC-8A1D-014977EE421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1448780"/>
            <a:ext cx="3780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7" name="Picture Placeholder 38">
            <a:extLst>
              <a:ext uri="{FF2B5EF4-FFF2-40B4-BE49-F238E27FC236}">
                <a16:creationId xmlns:a16="http://schemas.microsoft.com/office/drawing/2014/main" id="{05A742C7-80B2-486A-90F8-02A76FC5306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4223794" y="1448780"/>
            <a:ext cx="3744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8" name="Picture Placeholder 38">
            <a:extLst>
              <a:ext uri="{FF2B5EF4-FFF2-40B4-BE49-F238E27FC236}">
                <a16:creationId xmlns:a16="http://schemas.microsoft.com/office/drawing/2014/main" id="{A3414379-7E42-45F0-B47B-9D12E2F5D0B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8184232" y="1448780"/>
            <a:ext cx="3780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1572779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525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  <a:endParaRPr lang="en-US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26890675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: Shape 19">
            <a:extLst>
              <a:ext uri="{FF2B5EF4-FFF2-40B4-BE49-F238E27FC236}">
                <a16:creationId xmlns:a16="http://schemas.microsoft.com/office/drawing/2014/main" id="{BF27BF86-1C59-440E-894C-FA93E0BDB21C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C5C6CF"/>
              </a:gs>
              <a:gs pos="100000">
                <a:srgbClr val="E1E2EC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82BFA7C-8CC0-46BD-86F3-9518A7539D6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2925312" y="697362"/>
            <a:ext cx="6372000" cy="447635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8DF27F43-6147-4006-B141-A88A3644CE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7EE0C09F-1761-489F-A154-87B8F84EF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8" name="Text Placeholder 20">
            <a:extLst>
              <a:ext uri="{FF2B5EF4-FFF2-40B4-BE49-F238E27FC236}">
                <a16:creationId xmlns:a16="http://schemas.microsoft.com/office/drawing/2014/main" id="{BB2C3296-6748-4658-9068-DDA715E120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-24680" y="-36004"/>
            <a:ext cx="0" cy="0"/>
          </a:xfrm>
          <a:noFill/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845FD22-7A3A-4557-8B9A-AC8987A3EA3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34391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7">
            <a:extLst>
              <a:ext uri="{FF2B5EF4-FFF2-40B4-BE49-F238E27FC236}">
                <a16:creationId xmlns:a16="http://schemas.microsoft.com/office/drawing/2014/main" id="{F1063ACD-2381-41A8-B20A-F2527A5C8863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A7BBD4"/>
              </a:gs>
              <a:gs pos="100000">
                <a:srgbClr val="D7E4F6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E62F1C35-8EB3-43FB-AC86-0F8629A0962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312024" y="224644"/>
            <a:ext cx="5651324" cy="6408000"/>
          </a:xfrm>
          <a:custGeom>
            <a:avLst/>
            <a:gdLst>
              <a:gd name="connsiteX0" fmla="*/ 0 w 5651324"/>
              <a:gd name="connsiteY0" fmla="*/ 0 h 6408000"/>
              <a:gd name="connsiteX1" fmla="*/ 5651324 w 5651324"/>
              <a:gd name="connsiteY1" fmla="*/ 0 h 6408000"/>
              <a:gd name="connsiteX2" fmla="*/ 5651324 w 5651324"/>
              <a:gd name="connsiteY2" fmla="*/ 5341097 h 6408000"/>
              <a:gd name="connsiteX3" fmla="*/ 2341176 w 5651324"/>
              <a:gd name="connsiteY3" fmla="*/ 5341097 h 6408000"/>
              <a:gd name="connsiteX4" fmla="*/ 2341176 w 5651324"/>
              <a:gd name="connsiteY4" fmla="*/ 5436604 h 6408000"/>
              <a:gd name="connsiteX5" fmla="*/ 2340260 w 5651324"/>
              <a:gd name="connsiteY5" fmla="*/ 5436604 h 6408000"/>
              <a:gd name="connsiteX6" fmla="*/ 2340260 w 5651324"/>
              <a:gd name="connsiteY6" fmla="*/ 6408000 h 6408000"/>
              <a:gd name="connsiteX7" fmla="*/ 0 w 5651324"/>
              <a:gd name="connsiteY7" fmla="*/ 6408000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51324" h="6408000">
                <a:moveTo>
                  <a:pt x="0" y="0"/>
                </a:moveTo>
                <a:lnTo>
                  <a:pt x="5651324" y="0"/>
                </a:lnTo>
                <a:lnTo>
                  <a:pt x="5651324" y="5341097"/>
                </a:lnTo>
                <a:lnTo>
                  <a:pt x="2341176" y="5341097"/>
                </a:lnTo>
                <a:lnTo>
                  <a:pt x="2341176" y="5436604"/>
                </a:lnTo>
                <a:lnTo>
                  <a:pt x="2340260" y="5436604"/>
                </a:lnTo>
                <a:lnTo>
                  <a:pt x="2340260" y="6408000"/>
                </a:lnTo>
                <a:lnTo>
                  <a:pt x="0" y="640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387659"/>
            <a:ext cx="5040000" cy="1177245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504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DFB5CDCA-C1F6-46D5-8114-EDF8C9050D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356CA35-6D04-4E0E-BA9F-B48057E1C379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039649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7">
            <a:extLst>
              <a:ext uri="{FF2B5EF4-FFF2-40B4-BE49-F238E27FC236}">
                <a16:creationId xmlns:a16="http://schemas.microsoft.com/office/drawing/2014/main" id="{F1063ACD-2381-41A8-B20A-F2527A5C8863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C5C6CF"/>
              </a:gs>
              <a:gs pos="100000">
                <a:srgbClr val="E1E2EC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E62F1C35-8EB3-43FB-AC86-0F8629A0962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312024" y="224644"/>
            <a:ext cx="5651324" cy="6408000"/>
          </a:xfrm>
          <a:custGeom>
            <a:avLst/>
            <a:gdLst>
              <a:gd name="connsiteX0" fmla="*/ 0 w 5651324"/>
              <a:gd name="connsiteY0" fmla="*/ 0 h 6408000"/>
              <a:gd name="connsiteX1" fmla="*/ 5651324 w 5651324"/>
              <a:gd name="connsiteY1" fmla="*/ 0 h 6408000"/>
              <a:gd name="connsiteX2" fmla="*/ 5651324 w 5651324"/>
              <a:gd name="connsiteY2" fmla="*/ 5341097 h 6408000"/>
              <a:gd name="connsiteX3" fmla="*/ 2341176 w 5651324"/>
              <a:gd name="connsiteY3" fmla="*/ 5341097 h 6408000"/>
              <a:gd name="connsiteX4" fmla="*/ 2341176 w 5651324"/>
              <a:gd name="connsiteY4" fmla="*/ 5436604 h 6408000"/>
              <a:gd name="connsiteX5" fmla="*/ 2340260 w 5651324"/>
              <a:gd name="connsiteY5" fmla="*/ 5436604 h 6408000"/>
              <a:gd name="connsiteX6" fmla="*/ 2340260 w 5651324"/>
              <a:gd name="connsiteY6" fmla="*/ 6408000 h 6408000"/>
              <a:gd name="connsiteX7" fmla="*/ 0 w 5651324"/>
              <a:gd name="connsiteY7" fmla="*/ 6408000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51324" h="6408000">
                <a:moveTo>
                  <a:pt x="0" y="0"/>
                </a:moveTo>
                <a:lnTo>
                  <a:pt x="5651324" y="0"/>
                </a:lnTo>
                <a:lnTo>
                  <a:pt x="5651324" y="5341097"/>
                </a:lnTo>
                <a:lnTo>
                  <a:pt x="2341176" y="5341097"/>
                </a:lnTo>
                <a:lnTo>
                  <a:pt x="2341176" y="5436604"/>
                </a:lnTo>
                <a:lnTo>
                  <a:pt x="2340260" y="5436604"/>
                </a:lnTo>
                <a:lnTo>
                  <a:pt x="2340260" y="6408000"/>
                </a:lnTo>
                <a:lnTo>
                  <a:pt x="0" y="640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387659"/>
            <a:ext cx="5040000" cy="1177245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504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DFB5CDCA-C1F6-46D5-8114-EDF8C9050D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356CA35-6D04-4E0E-BA9F-B48057E1C379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69483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7">
            <a:extLst>
              <a:ext uri="{FF2B5EF4-FFF2-40B4-BE49-F238E27FC236}">
                <a16:creationId xmlns:a16="http://schemas.microsoft.com/office/drawing/2014/main" id="{873C5E77-B7AF-421D-BCE3-ABE852EEC1C5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C5C6CF"/>
              </a:gs>
              <a:gs pos="100000">
                <a:srgbClr val="E1E2EC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0034B150-7B5F-4F89-994B-8E2AF18CED6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312024" y="224644"/>
            <a:ext cx="5651324" cy="6408000"/>
          </a:xfrm>
          <a:custGeom>
            <a:avLst/>
            <a:gdLst>
              <a:gd name="connsiteX0" fmla="*/ 0 w 5651324"/>
              <a:gd name="connsiteY0" fmla="*/ 0 h 6408000"/>
              <a:gd name="connsiteX1" fmla="*/ 5651324 w 5651324"/>
              <a:gd name="connsiteY1" fmla="*/ 0 h 6408000"/>
              <a:gd name="connsiteX2" fmla="*/ 5651324 w 5651324"/>
              <a:gd name="connsiteY2" fmla="*/ 5341097 h 6408000"/>
              <a:gd name="connsiteX3" fmla="*/ 2341176 w 5651324"/>
              <a:gd name="connsiteY3" fmla="*/ 5341097 h 6408000"/>
              <a:gd name="connsiteX4" fmla="*/ 2341176 w 5651324"/>
              <a:gd name="connsiteY4" fmla="*/ 5436604 h 6408000"/>
              <a:gd name="connsiteX5" fmla="*/ 2340260 w 5651324"/>
              <a:gd name="connsiteY5" fmla="*/ 5436604 h 6408000"/>
              <a:gd name="connsiteX6" fmla="*/ 2340260 w 5651324"/>
              <a:gd name="connsiteY6" fmla="*/ 6408000 h 6408000"/>
              <a:gd name="connsiteX7" fmla="*/ 0 w 5651324"/>
              <a:gd name="connsiteY7" fmla="*/ 6408000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51324" h="6408000">
                <a:moveTo>
                  <a:pt x="0" y="0"/>
                </a:moveTo>
                <a:lnTo>
                  <a:pt x="5651324" y="0"/>
                </a:lnTo>
                <a:lnTo>
                  <a:pt x="5651324" y="5341097"/>
                </a:lnTo>
                <a:lnTo>
                  <a:pt x="2341176" y="5341097"/>
                </a:lnTo>
                <a:lnTo>
                  <a:pt x="2341176" y="5436604"/>
                </a:lnTo>
                <a:lnTo>
                  <a:pt x="2340260" y="5436604"/>
                </a:lnTo>
                <a:lnTo>
                  <a:pt x="2340260" y="6408000"/>
                </a:lnTo>
                <a:lnTo>
                  <a:pt x="0" y="640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387659"/>
            <a:ext cx="5040000" cy="1177245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504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DFB5CDCA-C1F6-46D5-8114-EDF8C9050D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3D55BDC-6C00-402B-90AA-F22696F3A647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87731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BCCB24D1-1930-4692-BCB4-2D015F3F3B1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To insert a light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88F0433-0C1E-45C4-91D5-A71D1E7489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034D38C5-1AE2-48F2-B904-368AF1BB919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696085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14F18E71-29D3-41B6-BF4E-FC779991DD8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dark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88F0433-0C1E-45C4-91D5-A71D1E7489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34DC0D83-60BD-41F0-9FDA-B863EB5234F4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248853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bespo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1EA27167-586B-4CD5-9939-5080A6B10AA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Title bespoke: add your own image with integrated key visual sails (see sample slides)</a:t>
            </a:r>
            <a:br>
              <a:rPr lang="en-US" noProof="0" dirty="0"/>
            </a:br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8358B27E-FB3F-41D5-92D8-EE8674AEF61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-24680" y="-36004"/>
            <a:ext cx="0" cy="0"/>
          </a:xfrm>
          <a:noFill/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426D35AF-E7A7-466A-A68A-C4638C2440D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980669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521616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520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55DD2651-0151-430C-B119-007B62690C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592796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1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09DC8B0-57A1-4F3A-BDDA-77B9AF0DE0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59396" y="1757427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7E436937-FEE7-4E3B-B2ED-EA8C59C28E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59396" y="2024844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16921189-9456-4725-8796-9A63F4FF2A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27348" y="2960948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2</a:t>
            </a:r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AE279508-3E84-4EBE-BA6B-3B720AECFA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59396" y="3125579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878AB44-EE12-455A-BBB0-B5C1D69C3B0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59396" y="3392996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96B76ADA-0F82-4009-B48F-06F5BE94347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27348" y="4329100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3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D769DA76-2E5E-4579-8580-F35E830E20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59396" y="4493731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EE63D31-8274-422B-BB5C-1322C346FFA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59396" y="4761148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2BA01F8F-457E-4EBD-A72E-F504F5EC57E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204012" y="1592796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4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EAF15CFC-3F46-4D43-B341-F497C9D37ED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636060" y="1757427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0E2EA731-5BB9-4EC1-8EB5-184ACE70DF1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636060" y="2024844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84BB2A9C-8535-467B-AC6B-C1B058B392B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204012" y="2960948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5</a:t>
            </a: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2DC572E8-1F82-4B53-AF7F-384B189AF8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636060" y="3125579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C054D566-3D6B-4B30-AF80-C1C61C87FC6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636060" y="3392996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594A9388-93DB-4C06-8ECA-D5F6FADED7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204012" y="4329100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6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D42822C5-6A82-408A-A140-9FDE7F4F3D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636060" y="4493731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90CB119A-0EC1-49E6-B7C7-90227128C7C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636060" y="4761148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</p:spTree>
    <p:extLst>
      <p:ext uri="{BB962C8B-B14F-4D97-AF65-F5344CB8AC3E}">
        <p14:creationId xmlns:p14="http://schemas.microsoft.com/office/powerpoint/2010/main" val="274802831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1A0FEDA4-5EFC-4CDF-A9C9-15CF8F34C7B4}"/>
              </a:ext>
            </a:extLst>
          </p:cNvPr>
          <p:cNvSpPr/>
          <p:nvPr/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4644516 h 5796644"/>
              <a:gd name="connsiteX10" fmla="*/ 0 w 11736000"/>
              <a:gd name="connsiteY10" fmla="*/ 2675674 h 5796644"/>
              <a:gd name="connsiteX11" fmla="*/ 432048 w 11736000"/>
              <a:gd name="connsiteY11" fmla="*/ 2675674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5688632 h 5796644"/>
              <a:gd name="connsiteX8" fmla="*/ 0 w 11736000"/>
              <a:gd name="connsiteY8" fmla="*/ 4644516 h 5796644"/>
              <a:gd name="connsiteX9" fmla="*/ 0 w 11736000"/>
              <a:gd name="connsiteY9" fmla="*/ 2675674 h 5796644"/>
              <a:gd name="connsiteX10" fmla="*/ 432048 w 11736000"/>
              <a:gd name="connsiteY10" fmla="*/ 2675674 h 5796644"/>
              <a:gd name="connsiteX11" fmla="*/ 432048 w 11736000"/>
              <a:gd name="connsiteY11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688632 h 5796644"/>
              <a:gd name="connsiteX7" fmla="*/ 0 w 11736000"/>
              <a:gd name="connsiteY7" fmla="*/ 4644516 h 5796644"/>
              <a:gd name="connsiteX8" fmla="*/ 0 w 11736000"/>
              <a:gd name="connsiteY8" fmla="*/ 2675674 h 5796644"/>
              <a:gd name="connsiteX9" fmla="*/ 432048 w 11736000"/>
              <a:gd name="connsiteY9" fmla="*/ 2675674 h 5796644"/>
              <a:gd name="connsiteX10" fmla="*/ 432048 w 11736000"/>
              <a:gd name="connsiteY10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4644516 h 5796644"/>
              <a:gd name="connsiteX7" fmla="*/ 0 w 11736000"/>
              <a:gd name="connsiteY7" fmla="*/ 2675674 h 5796644"/>
              <a:gd name="connsiteX8" fmla="*/ 432048 w 11736000"/>
              <a:gd name="connsiteY8" fmla="*/ 2675674 h 5796644"/>
              <a:gd name="connsiteX9" fmla="*/ 432048 w 11736000"/>
              <a:gd name="connsiteY9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2675674 h 5796644"/>
              <a:gd name="connsiteX7" fmla="*/ 432048 w 11736000"/>
              <a:gd name="connsiteY7" fmla="*/ 2675674 h 5796644"/>
              <a:gd name="connsiteX8" fmla="*/ 432048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432048" y="0"/>
                </a:moveTo>
                <a:lnTo>
                  <a:pt x="11736000" y="0"/>
                </a:lnTo>
                <a:lnTo>
                  <a:pt x="11736000" y="4392488"/>
                </a:lnTo>
                <a:lnTo>
                  <a:pt x="10837204" y="4392488"/>
                </a:lnTo>
                <a:cubicBezTo>
                  <a:pt x="10836803" y="4860540"/>
                  <a:pt x="10836401" y="5328592"/>
                  <a:pt x="10836000" y="5796644"/>
                </a:cubicBezTo>
                <a:lnTo>
                  <a:pt x="0" y="5796644"/>
                </a:lnTo>
                <a:lnTo>
                  <a:pt x="0" y="2675674"/>
                </a:lnTo>
                <a:lnTo>
                  <a:pt x="432048" y="2675674"/>
                </a:lnTo>
                <a:lnTo>
                  <a:pt x="432048" y="0"/>
                </a:lnTo>
                <a:close/>
              </a:path>
            </a:pathLst>
          </a:custGeom>
          <a:solidFill>
            <a:srgbClr val="C5C6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2467925"/>
            <a:ext cx="9540000" cy="553998"/>
          </a:xfrm>
        </p:spPr>
        <p:txBody>
          <a:bodyPr vert="horz" anchor="t"/>
          <a:lstStyle>
            <a:lvl1pPr>
              <a:defRPr sz="4000"/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392857591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with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3F05F24-D816-4D5B-84FD-79986AC230E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4644516 h 5796644"/>
              <a:gd name="connsiteX10" fmla="*/ 0 w 11736000"/>
              <a:gd name="connsiteY10" fmla="*/ 2675674 h 5796644"/>
              <a:gd name="connsiteX11" fmla="*/ 432048 w 11736000"/>
              <a:gd name="connsiteY11" fmla="*/ 2675674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2675674 h 5796644"/>
              <a:gd name="connsiteX10" fmla="*/ 432048 w 11736000"/>
              <a:gd name="connsiteY10" fmla="*/ 2675674 h 5796644"/>
              <a:gd name="connsiteX11" fmla="*/ 432048 w 11736000"/>
              <a:gd name="connsiteY11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2675674 h 5796644"/>
              <a:gd name="connsiteX9" fmla="*/ 432048 w 11736000"/>
              <a:gd name="connsiteY9" fmla="*/ 2675674 h 5796644"/>
              <a:gd name="connsiteX10" fmla="*/ 432048 w 11736000"/>
              <a:gd name="connsiteY10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2675674 h 5796644"/>
              <a:gd name="connsiteX8" fmla="*/ 432048 w 11736000"/>
              <a:gd name="connsiteY8" fmla="*/ 2675674 h 5796644"/>
              <a:gd name="connsiteX9" fmla="*/ 432048 w 11736000"/>
              <a:gd name="connsiteY9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2675674 h 5796644"/>
              <a:gd name="connsiteX7" fmla="*/ 432048 w 11736000"/>
              <a:gd name="connsiteY7" fmla="*/ 2675674 h 5796644"/>
              <a:gd name="connsiteX8" fmla="*/ 432048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432048" y="0"/>
                </a:moveTo>
                <a:lnTo>
                  <a:pt x="11736000" y="0"/>
                </a:lnTo>
                <a:lnTo>
                  <a:pt x="11736000" y="4392488"/>
                </a:lnTo>
                <a:lnTo>
                  <a:pt x="10837204" y="4392488"/>
                </a:lnTo>
                <a:cubicBezTo>
                  <a:pt x="10836803" y="4860540"/>
                  <a:pt x="10836401" y="5328592"/>
                  <a:pt x="10836000" y="5796644"/>
                </a:cubicBezTo>
                <a:lnTo>
                  <a:pt x="0" y="5796644"/>
                </a:lnTo>
                <a:lnTo>
                  <a:pt x="0" y="2675674"/>
                </a:lnTo>
                <a:lnTo>
                  <a:pt x="432048" y="2675674"/>
                </a:lnTo>
                <a:lnTo>
                  <a:pt x="432048" y="0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576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2467925"/>
            <a:ext cx="9540000" cy="553998"/>
          </a:xfrm>
        </p:spPr>
        <p:txBody>
          <a:bodyPr vert="horz"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162764947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(subpoi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: Shape 4">
            <a:extLst>
              <a:ext uri="{FF2B5EF4-FFF2-40B4-BE49-F238E27FC236}">
                <a16:creationId xmlns:a16="http://schemas.microsoft.com/office/drawing/2014/main" id="{F4B0B860-97E1-4E48-AF47-5ECE2C8E2E4A}"/>
              </a:ext>
            </a:extLst>
          </p:cNvPr>
          <p:cNvSpPr/>
          <p:nvPr/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3008 w 11736000"/>
              <a:gd name="connsiteY4" fmla="*/ 5688632 h 5796644"/>
              <a:gd name="connsiteX5" fmla="*/ 9072000 w 11736000"/>
              <a:gd name="connsiteY5" fmla="*/ 5688632 h 5796644"/>
              <a:gd name="connsiteX6" fmla="*/ 9072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5220580 h 5796644"/>
              <a:gd name="connsiteX10" fmla="*/ 0 w 11736000"/>
              <a:gd name="connsiteY10" fmla="*/ 1877957 h 5796644"/>
              <a:gd name="connsiteX11" fmla="*/ 540060 w 11736000"/>
              <a:gd name="connsiteY11" fmla="*/ 1877957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3008 w 11736000"/>
              <a:gd name="connsiteY4" fmla="*/ 5688632 h 5796644"/>
              <a:gd name="connsiteX5" fmla="*/ 9072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5688632 h 5796644"/>
              <a:gd name="connsiteX8" fmla="*/ 0 w 11736000"/>
              <a:gd name="connsiteY8" fmla="*/ 5220580 h 5796644"/>
              <a:gd name="connsiteX9" fmla="*/ 0 w 11736000"/>
              <a:gd name="connsiteY9" fmla="*/ 1877957 h 5796644"/>
              <a:gd name="connsiteX10" fmla="*/ 540060 w 11736000"/>
              <a:gd name="connsiteY10" fmla="*/ 1877957 h 5796644"/>
              <a:gd name="connsiteX11" fmla="*/ 540060 w 11736000"/>
              <a:gd name="connsiteY11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688632 h 5796644"/>
              <a:gd name="connsiteX7" fmla="*/ 0 w 11736000"/>
              <a:gd name="connsiteY7" fmla="*/ 5220580 h 5796644"/>
              <a:gd name="connsiteX8" fmla="*/ 0 w 11736000"/>
              <a:gd name="connsiteY8" fmla="*/ 1877957 h 5796644"/>
              <a:gd name="connsiteX9" fmla="*/ 540060 w 11736000"/>
              <a:gd name="connsiteY9" fmla="*/ 1877957 h 5796644"/>
              <a:gd name="connsiteX10" fmla="*/ 540060 w 11736000"/>
              <a:gd name="connsiteY10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220580 h 5796644"/>
              <a:gd name="connsiteX7" fmla="*/ 0 w 11736000"/>
              <a:gd name="connsiteY7" fmla="*/ 1877957 h 5796644"/>
              <a:gd name="connsiteX8" fmla="*/ 540060 w 11736000"/>
              <a:gd name="connsiteY8" fmla="*/ 1877957 h 5796644"/>
              <a:gd name="connsiteX9" fmla="*/ 540060 w 11736000"/>
              <a:gd name="connsiteY9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1877957 h 5796644"/>
              <a:gd name="connsiteX7" fmla="*/ 540060 w 11736000"/>
              <a:gd name="connsiteY7" fmla="*/ 1877957 h 5796644"/>
              <a:gd name="connsiteX8" fmla="*/ 540060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540060" y="0"/>
                </a:moveTo>
                <a:lnTo>
                  <a:pt x="11736000" y="0"/>
                </a:lnTo>
                <a:lnTo>
                  <a:pt x="11736000" y="4608512"/>
                </a:lnTo>
                <a:lnTo>
                  <a:pt x="9073008" y="4608512"/>
                </a:lnTo>
                <a:lnTo>
                  <a:pt x="9072000" y="5796644"/>
                </a:lnTo>
                <a:lnTo>
                  <a:pt x="0" y="5796644"/>
                </a:lnTo>
                <a:lnTo>
                  <a:pt x="0" y="1877957"/>
                </a:lnTo>
                <a:lnTo>
                  <a:pt x="540060" y="1877957"/>
                </a:lnTo>
                <a:lnTo>
                  <a:pt x="540060" y="0"/>
                </a:lnTo>
                <a:close/>
              </a:path>
            </a:pathLst>
          </a:custGeom>
          <a:solidFill>
            <a:srgbClr val="E1E2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1736812"/>
            <a:ext cx="9540000" cy="470898"/>
          </a:xfrm>
        </p:spPr>
        <p:txBody>
          <a:bodyPr vert="horz" anchor="t"/>
          <a:lstStyle>
            <a:lvl1pPr>
              <a:defRPr sz="3400"/>
            </a:lvl1pPr>
          </a:lstStyle>
          <a:p>
            <a:r>
              <a:rPr lang="en-US" noProof="0" dirty="0"/>
              <a:t>Click to edit chapter subpoint</a:t>
            </a:r>
          </a:p>
        </p:txBody>
      </p:sp>
    </p:spTree>
    <p:extLst>
      <p:ext uri="{BB962C8B-B14F-4D97-AF65-F5344CB8AC3E}">
        <p14:creationId xmlns:p14="http://schemas.microsoft.com/office/powerpoint/2010/main" val="13358650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11736000" cy="4356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28338492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7">
            <a:extLst>
              <a:ext uri="{FF2B5EF4-FFF2-40B4-BE49-F238E27FC236}">
                <a16:creationId xmlns:a16="http://schemas.microsoft.com/office/drawing/2014/main" id="{873C5E77-B7AF-421D-BCE3-ABE852EEC1C5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A7BBD4"/>
              </a:gs>
              <a:gs pos="100000">
                <a:srgbClr val="D7E4F6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0034B150-7B5F-4F89-994B-8E2AF18CED6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312024" y="224644"/>
            <a:ext cx="5651324" cy="6408000"/>
          </a:xfrm>
          <a:custGeom>
            <a:avLst/>
            <a:gdLst>
              <a:gd name="connsiteX0" fmla="*/ 0 w 5651324"/>
              <a:gd name="connsiteY0" fmla="*/ 0 h 6408000"/>
              <a:gd name="connsiteX1" fmla="*/ 5651324 w 5651324"/>
              <a:gd name="connsiteY1" fmla="*/ 0 h 6408000"/>
              <a:gd name="connsiteX2" fmla="*/ 5651324 w 5651324"/>
              <a:gd name="connsiteY2" fmla="*/ 5341097 h 6408000"/>
              <a:gd name="connsiteX3" fmla="*/ 2341176 w 5651324"/>
              <a:gd name="connsiteY3" fmla="*/ 5341097 h 6408000"/>
              <a:gd name="connsiteX4" fmla="*/ 2341176 w 5651324"/>
              <a:gd name="connsiteY4" fmla="*/ 5436604 h 6408000"/>
              <a:gd name="connsiteX5" fmla="*/ 2340260 w 5651324"/>
              <a:gd name="connsiteY5" fmla="*/ 5436604 h 6408000"/>
              <a:gd name="connsiteX6" fmla="*/ 2340260 w 5651324"/>
              <a:gd name="connsiteY6" fmla="*/ 6408000 h 6408000"/>
              <a:gd name="connsiteX7" fmla="*/ 0 w 5651324"/>
              <a:gd name="connsiteY7" fmla="*/ 6408000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51324" h="6408000">
                <a:moveTo>
                  <a:pt x="0" y="0"/>
                </a:moveTo>
                <a:lnTo>
                  <a:pt x="5651324" y="0"/>
                </a:lnTo>
                <a:lnTo>
                  <a:pt x="5651324" y="5341097"/>
                </a:lnTo>
                <a:lnTo>
                  <a:pt x="2341176" y="5341097"/>
                </a:lnTo>
                <a:lnTo>
                  <a:pt x="2341176" y="5436604"/>
                </a:lnTo>
                <a:lnTo>
                  <a:pt x="2340260" y="5436604"/>
                </a:lnTo>
                <a:lnTo>
                  <a:pt x="2340260" y="6408000"/>
                </a:lnTo>
                <a:lnTo>
                  <a:pt x="0" y="640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387659"/>
            <a:ext cx="5040000" cy="1177245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504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DFB5CDCA-C1F6-46D5-8114-EDF8C9050D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3D55BDC-6C00-402B-90AA-F22696F3A647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902504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04012" y="1664804"/>
            <a:ext cx="576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157054286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378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1664804"/>
            <a:ext cx="3744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84232" y="1664804"/>
            <a:ext cx="378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31682098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525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3941FEE-12D0-4301-BC5C-B2AD93E102BB}"/>
              </a:ext>
            </a:extLst>
          </p:cNvPr>
          <p:cNvSpPr/>
          <p:nvPr/>
        </p:nvSpPr>
        <p:spPr bwMode="gray">
          <a:xfrm>
            <a:off x="227348" y="1448780"/>
            <a:ext cx="11736000" cy="4572000"/>
          </a:xfrm>
          <a:prstGeom prst="rect">
            <a:avLst/>
          </a:prstGeom>
          <a:solidFill>
            <a:srgbClr val="E1E2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 lIns="216000" rIns="108000" bIns="21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6000" y="1448780"/>
            <a:ext cx="5868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6343654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 lIns="0" rIns="10800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6000" y="1448780"/>
            <a:ext cx="5868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4725550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7" y="1664804"/>
            <a:ext cx="3780000" cy="4356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050283F-AA6E-467A-B7F1-94C34E5D4D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1664804"/>
            <a:ext cx="3744000" cy="4356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69051D0B-3FCC-4D48-8087-C71E10FA7B0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184232" y="1448780"/>
            <a:ext cx="3780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864000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25">
          <p15:clr>
            <a:srgbClr val="FBAE40"/>
          </p15:clr>
        </p15:guide>
        <p15:guide id="2" pos="2661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3717032"/>
            <a:ext cx="3780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3717032"/>
            <a:ext cx="3744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84232" y="3717032"/>
            <a:ext cx="3780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4" name="Picture Placeholder 38">
            <a:extLst>
              <a:ext uri="{FF2B5EF4-FFF2-40B4-BE49-F238E27FC236}">
                <a16:creationId xmlns:a16="http://schemas.microsoft.com/office/drawing/2014/main" id="{653CE5C9-004D-47BC-8A1D-014977EE421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1448780"/>
            <a:ext cx="3780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7" name="Picture Placeholder 38">
            <a:extLst>
              <a:ext uri="{FF2B5EF4-FFF2-40B4-BE49-F238E27FC236}">
                <a16:creationId xmlns:a16="http://schemas.microsoft.com/office/drawing/2014/main" id="{05A742C7-80B2-486A-90F8-02A76FC5306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4223794" y="1448780"/>
            <a:ext cx="3744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8" name="Picture Placeholder 38">
            <a:extLst>
              <a:ext uri="{FF2B5EF4-FFF2-40B4-BE49-F238E27FC236}">
                <a16:creationId xmlns:a16="http://schemas.microsoft.com/office/drawing/2014/main" id="{A3414379-7E42-45F0-B47B-9D12E2F5D0B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8184232" y="1448780"/>
            <a:ext cx="3780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755667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525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  <a:endParaRPr lang="en-US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240353022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: Shape 19">
            <a:extLst>
              <a:ext uri="{FF2B5EF4-FFF2-40B4-BE49-F238E27FC236}">
                <a16:creationId xmlns:a16="http://schemas.microsoft.com/office/drawing/2014/main" id="{BF27BF86-1C59-440E-894C-FA93E0BDB21C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B7CCC0"/>
              </a:gs>
              <a:gs pos="100000">
                <a:srgbClr val="DAE6DF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82BFA7C-8CC0-46BD-86F3-9518A7539D6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2925312" y="697362"/>
            <a:ext cx="6372000" cy="447635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8DF27F43-6147-4006-B141-A88A3644CE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7EE0C09F-1761-489F-A154-87B8F84EF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8" name="Text Placeholder 20">
            <a:extLst>
              <a:ext uri="{FF2B5EF4-FFF2-40B4-BE49-F238E27FC236}">
                <a16:creationId xmlns:a16="http://schemas.microsoft.com/office/drawing/2014/main" id="{BB2C3296-6748-4658-9068-DDA715E120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-24680" y="-36004"/>
            <a:ext cx="0" cy="0"/>
          </a:xfrm>
          <a:noFill/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845FD22-7A3A-4557-8B9A-AC8987A3EA3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394717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7">
            <a:extLst>
              <a:ext uri="{FF2B5EF4-FFF2-40B4-BE49-F238E27FC236}">
                <a16:creationId xmlns:a16="http://schemas.microsoft.com/office/drawing/2014/main" id="{F1063ACD-2381-41A8-B20A-F2527A5C8863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B7CCC0"/>
              </a:gs>
              <a:gs pos="100000">
                <a:srgbClr val="DAE6DF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E62F1C35-8EB3-43FB-AC86-0F8629A0962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312024" y="224644"/>
            <a:ext cx="5651324" cy="6408000"/>
          </a:xfrm>
          <a:custGeom>
            <a:avLst/>
            <a:gdLst>
              <a:gd name="connsiteX0" fmla="*/ 0 w 5651324"/>
              <a:gd name="connsiteY0" fmla="*/ 0 h 6408000"/>
              <a:gd name="connsiteX1" fmla="*/ 5651324 w 5651324"/>
              <a:gd name="connsiteY1" fmla="*/ 0 h 6408000"/>
              <a:gd name="connsiteX2" fmla="*/ 5651324 w 5651324"/>
              <a:gd name="connsiteY2" fmla="*/ 5341097 h 6408000"/>
              <a:gd name="connsiteX3" fmla="*/ 2341176 w 5651324"/>
              <a:gd name="connsiteY3" fmla="*/ 5341097 h 6408000"/>
              <a:gd name="connsiteX4" fmla="*/ 2341176 w 5651324"/>
              <a:gd name="connsiteY4" fmla="*/ 5436604 h 6408000"/>
              <a:gd name="connsiteX5" fmla="*/ 2340260 w 5651324"/>
              <a:gd name="connsiteY5" fmla="*/ 5436604 h 6408000"/>
              <a:gd name="connsiteX6" fmla="*/ 2340260 w 5651324"/>
              <a:gd name="connsiteY6" fmla="*/ 6408000 h 6408000"/>
              <a:gd name="connsiteX7" fmla="*/ 0 w 5651324"/>
              <a:gd name="connsiteY7" fmla="*/ 6408000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51324" h="6408000">
                <a:moveTo>
                  <a:pt x="0" y="0"/>
                </a:moveTo>
                <a:lnTo>
                  <a:pt x="5651324" y="0"/>
                </a:lnTo>
                <a:lnTo>
                  <a:pt x="5651324" y="5341097"/>
                </a:lnTo>
                <a:lnTo>
                  <a:pt x="2341176" y="5341097"/>
                </a:lnTo>
                <a:lnTo>
                  <a:pt x="2341176" y="5436604"/>
                </a:lnTo>
                <a:lnTo>
                  <a:pt x="2340260" y="5436604"/>
                </a:lnTo>
                <a:lnTo>
                  <a:pt x="2340260" y="6408000"/>
                </a:lnTo>
                <a:lnTo>
                  <a:pt x="0" y="640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387659"/>
            <a:ext cx="5040000" cy="1177245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504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DFB5CDCA-C1F6-46D5-8114-EDF8C9050D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356CA35-6D04-4E0E-BA9F-B48057E1C379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80304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7">
            <a:extLst>
              <a:ext uri="{FF2B5EF4-FFF2-40B4-BE49-F238E27FC236}">
                <a16:creationId xmlns:a16="http://schemas.microsoft.com/office/drawing/2014/main" id="{873C5E77-B7AF-421D-BCE3-ABE852EEC1C5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B7CCC0"/>
              </a:gs>
              <a:gs pos="100000">
                <a:srgbClr val="DAE6DF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0034B150-7B5F-4F89-994B-8E2AF18CED6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312024" y="224644"/>
            <a:ext cx="5651324" cy="6408000"/>
          </a:xfrm>
          <a:custGeom>
            <a:avLst/>
            <a:gdLst>
              <a:gd name="connsiteX0" fmla="*/ 0 w 5651324"/>
              <a:gd name="connsiteY0" fmla="*/ 0 h 6408000"/>
              <a:gd name="connsiteX1" fmla="*/ 5651324 w 5651324"/>
              <a:gd name="connsiteY1" fmla="*/ 0 h 6408000"/>
              <a:gd name="connsiteX2" fmla="*/ 5651324 w 5651324"/>
              <a:gd name="connsiteY2" fmla="*/ 5341097 h 6408000"/>
              <a:gd name="connsiteX3" fmla="*/ 2341176 w 5651324"/>
              <a:gd name="connsiteY3" fmla="*/ 5341097 h 6408000"/>
              <a:gd name="connsiteX4" fmla="*/ 2341176 w 5651324"/>
              <a:gd name="connsiteY4" fmla="*/ 5436604 h 6408000"/>
              <a:gd name="connsiteX5" fmla="*/ 2340260 w 5651324"/>
              <a:gd name="connsiteY5" fmla="*/ 5436604 h 6408000"/>
              <a:gd name="connsiteX6" fmla="*/ 2340260 w 5651324"/>
              <a:gd name="connsiteY6" fmla="*/ 6408000 h 6408000"/>
              <a:gd name="connsiteX7" fmla="*/ 0 w 5651324"/>
              <a:gd name="connsiteY7" fmla="*/ 6408000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51324" h="6408000">
                <a:moveTo>
                  <a:pt x="0" y="0"/>
                </a:moveTo>
                <a:lnTo>
                  <a:pt x="5651324" y="0"/>
                </a:lnTo>
                <a:lnTo>
                  <a:pt x="5651324" y="5341097"/>
                </a:lnTo>
                <a:lnTo>
                  <a:pt x="2341176" y="5341097"/>
                </a:lnTo>
                <a:lnTo>
                  <a:pt x="2341176" y="5436604"/>
                </a:lnTo>
                <a:lnTo>
                  <a:pt x="2340260" y="5436604"/>
                </a:lnTo>
                <a:lnTo>
                  <a:pt x="2340260" y="6408000"/>
                </a:lnTo>
                <a:lnTo>
                  <a:pt x="0" y="640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387659"/>
            <a:ext cx="5040000" cy="1177245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504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DFB5CDCA-C1F6-46D5-8114-EDF8C9050D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3D55BDC-6C00-402B-90AA-F22696F3A647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44571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BCCB24D1-1930-4692-BCB4-2D015F3F3B1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To insert a light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88F0433-0C1E-45C4-91D5-A71D1E7489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034D38C5-1AE2-48F2-B904-368AF1BB919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489029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BCCB24D1-1930-4692-BCB4-2D015F3F3B1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To insert a light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88F0433-0C1E-45C4-91D5-A71D1E7489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034D38C5-1AE2-48F2-B904-368AF1BB919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917715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14F18E71-29D3-41B6-BF4E-FC779991DD8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dark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88F0433-0C1E-45C4-91D5-A71D1E7489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34DC0D83-60BD-41F0-9FDA-B863EB5234F4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333673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bespo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1EA27167-586B-4CD5-9939-5080A6B10AA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Title bespoke: add your own image with integrated key visual sails (see sample slides)</a:t>
            </a:r>
            <a:br>
              <a:rPr lang="en-US" noProof="0" dirty="0"/>
            </a:br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8358B27E-FB3F-41D5-92D8-EE8674AEF61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-24680" y="-36004"/>
            <a:ext cx="0" cy="0"/>
          </a:xfrm>
          <a:noFill/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426D35AF-E7A7-466A-A68A-C4638C2440D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063119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521616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520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55DD2651-0151-430C-B119-007B62690C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592796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1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09DC8B0-57A1-4F3A-BDDA-77B9AF0DE0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59396" y="1757427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7E436937-FEE7-4E3B-B2ED-EA8C59C28E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59396" y="2024844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16921189-9456-4725-8796-9A63F4FF2A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27348" y="2960948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2</a:t>
            </a:r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AE279508-3E84-4EBE-BA6B-3B720AECFA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59396" y="3125579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878AB44-EE12-455A-BBB0-B5C1D69C3B0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59396" y="3392996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96B76ADA-0F82-4009-B48F-06F5BE94347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27348" y="4329100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3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D769DA76-2E5E-4579-8580-F35E830E20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59396" y="4493731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EE63D31-8274-422B-BB5C-1322C346FFA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59396" y="4761148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2BA01F8F-457E-4EBD-A72E-F504F5EC57E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204012" y="1592796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4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EAF15CFC-3F46-4D43-B341-F497C9D37ED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636060" y="1757427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0E2EA731-5BB9-4EC1-8EB5-184ACE70DF1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636060" y="2024844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84BB2A9C-8535-467B-AC6B-C1B058B392B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204012" y="2960948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5</a:t>
            </a: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2DC572E8-1F82-4B53-AF7F-384B189AF8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636060" y="3125579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C054D566-3D6B-4B30-AF80-C1C61C87FC6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636060" y="3392996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594A9388-93DB-4C06-8ECA-D5F6FADED7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204012" y="4329100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6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D42822C5-6A82-408A-A140-9FDE7F4F3D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636060" y="4493731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90CB119A-0EC1-49E6-B7C7-90227128C7C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636060" y="4761148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</p:spTree>
    <p:extLst>
      <p:ext uri="{BB962C8B-B14F-4D97-AF65-F5344CB8AC3E}">
        <p14:creationId xmlns:p14="http://schemas.microsoft.com/office/powerpoint/2010/main" val="236285205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1A0FEDA4-5EFC-4CDF-A9C9-15CF8F34C7B4}"/>
              </a:ext>
            </a:extLst>
          </p:cNvPr>
          <p:cNvSpPr/>
          <p:nvPr/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4644516 h 5796644"/>
              <a:gd name="connsiteX10" fmla="*/ 0 w 11736000"/>
              <a:gd name="connsiteY10" fmla="*/ 2675674 h 5796644"/>
              <a:gd name="connsiteX11" fmla="*/ 432048 w 11736000"/>
              <a:gd name="connsiteY11" fmla="*/ 2675674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5688632 h 5796644"/>
              <a:gd name="connsiteX8" fmla="*/ 0 w 11736000"/>
              <a:gd name="connsiteY8" fmla="*/ 4644516 h 5796644"/>
              <a:gd name="connsiteX9" fmla="*/ 0 w 11736000"/>
              <a:gd name="connsiteY9" fmla="*/ 2675674 h 5796644"/>
              <a:gd name="connsiteX10" fmla="*/ 432048 w 11736000"/>
              <a:gd name="connsiteY10" fmla="*/ 2675674 h 5796644"/>
              <a:gd name="connsiteX11" fmla="*/ 432048 w 11736000"/>
              <a:gd name="connsiteY11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688632 h 5796644"/>
              <a:gd name="connsiteX7" fmla="*/ 0 w 11736000"/>
              <a:gd name="connsiteY7" fmla="*/ 4644516 h 5796644"/>
              <a:gd name="connsiteX8" fmla="*/ 0 w 11736000"/>
              <a:gd name="connsiteY8" fmla="*/ 2675674 h 5796644"/>
              <a:gd name="connsiteX9" fmla="*/ 432048 w 11736000"/>
              <a:gd name="connsiteY9" fmla="*/ 2675674 h 5796644"/>
              <a:gd name="connsiteX10" fmla="*/ 432048 w 11736000"/>
              <a:gd name="connsiteY10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4644516 h 5796644"/>
              <a:gd name="connsiteX7" fmla="*/ 0 w 11736000"/>
              <a:gd name="connsiteY7" fmla="*/ 2675674 h 5796644"/>
              <a:gd name="connsiteX8" fmla="*/ 432048 w 11736000"/>
              <a:gd name="connsiteY8" fmla="*/ 2675674 h 5796644"/>
              <a:gd name="connsiteX9" fmla="*/ 432048 w 11736000"/>
              <a:gd name="connsiteY9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2675674 h 5796644"/>
              <a:gd name="connsiteX7" fmla="*/ 432048 w 11736000"/>
              <a:gd name="connsiteY7" fmla="*/ 2675674 h 5796644"/>
              <a:gd name="connsiteX8" fmla="*/ 432048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432048" y="0"/>
                </a:moveTo>
                <a:lnTo>
                  <a:pt x="11736000" y="0"/>
                </a:lnTo>
                <a:lnTo>
                  <a:pt x="11736000" y="4392488"/>
                </a:lnTo>
                <a:lnTo>
                  <a:pt x="10837204" y="4392488"/>
                </a:lnTo>
                <a:cubicBezTo>
                  <a:pt x="10836803" y="4860540"/>
                  <a:pt x="10836401" y="5328592"/>
                  <a:pt x="10836000" y="5796644"/>
                </a:cubicBezTo>
                <a:lnTo>
                  <a:pt x="0" y="5796644"/>
                </a:lnTo>
                <a:lnTo>
                  <a:pt x="0" y="2675674"/>
                </a:lnTo>
                <a:lnTo>
                  <a:pt x="432048" y="2675674"/>
                </a:lnTo>
                <a:lnTo>
                  <a:pt x="432048" y="0"/>
                </a:lnTo>
                <a:close/>
              </a:path>
            </a:pathLst>
          </a:custGeom>
          <a:solidFill>
            <a:srgbClr val="B7CC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2467925"/>
            <a:ext cx="9540000" cy="553998"/>
          </a:xfrm>
        </p:spPr>
        <p:txBody>
          <a:bodyPr vert="horz" anchor="t"/>
          <a:lstStyle>
            <a:lvl1pPr>
              <a:defRPr sz="4000"/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381715811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with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3F05F24-D816-4D5B-84FD-79986AC230E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4644516 h 5796644"/>
              <a:gd name="connsiteX10" fmla="*/ 0 w 11736000"/>
              <a:gd name="connsiteY10" fmla="*/ 2675674 h 5796644"/>
              <a:gd name="connsiteX11" fmla="*/ 432048 w 11736000"/>
              <a:gd name="connsiteY11" fmla="*/ 2675674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2675674 h 5796644"/>
              <a:gd name="connsiteX10" fmla="*/ 432048 w 11736000"/>
              <a:gd name="connsiteY10" fmla="*/ 2675674 h 5796644"/>
              <a:gd name="connsiteX11" fmla="*/ 432048 w 11736000"/>
              <a:gd name="connsiteY11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2675674 h 5796644"/>
              <a:gd name="connsiteX9" fmla="*/ 432048 w 11736000"/>
              <a:gd name="connsiteY9" fmla="*/ 2675674 h 5796644"/>
              <a:gd name="connsiteX10" fmla="*/ 432048 w 11736000"/>
              <a:gd name="connsiteY10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2675674 h 5796644"/>
              <a:gd name="connsiteX8" fmla="*/ 432048 w 11736000"/>
              <a:gd name="connsiteY8" fmla="*/ 2675674 h 5796644"/>
              <a:gd name="connsiteX9" fmla="*/ 432048 w 11736000"/>
              <a:gd name="connsiteY9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2675674 h 5796644"/>
              <a:gd name="connsiteX7" fmla="*/ 432048 w 11736000"/>
              <a:gd name="connsiteY7" fmla="*/ 2675674 h 5796644"/>
              <a:gd name="connsiteX8" fmla="*/ 432048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432048" y="0"/>
                </a:moveTo>
                <a:lnTo>
                  <a:pt x="11736000" y="0"/>
                </a:lnTo>
                <a:lnTo>
                  <a:pt x="11736000" y="4392488"/>
                </a:lnTo>
                <a:lnTo>
                  <a:pt x="10837204" y="4392488"/>
                </a:lnTo>
                <a:cubicBezTo>
                  <a:pt x="10836803" y="4860540"/>
                  <a:pt x="10836401" y="5328592"/>
                  <a:pt x="10836000" y="5796644"/>
                </a:cubicBezTo>
                <a:lnTo>
                  <a:pt x="0" y="5796644"/>
                </a:lnTo>
                <a:lnTo>
                  <a:pt x="0" y="2675674"/>
                </a:lnTo>
                <a:lnTo>
                  <a:pt x="432048" y="2675674"/>
                </a:lnTo>
                <a:lnTo>
                  <a:pt x="432048" y="0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576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2467925"/>
            <a:ext cx="9540000" cy="553998"/>
          </a:xfrm>
        </p:spPr>
        <p:txBody>
          <a:bodyPr vert="horz"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122985999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(subpoi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: Shape 4">
            <a:extLst>
              <a:ext uri="{FF2B5EF4-FFF2-40B4-BE49-F238E27FC236}">
                <a16:creationId xmlns:a16="http://schemas.microsoft.com/office/drawing/2014/main" id="{F4B0B860-97E1-4E48-AF47-5ECE2C8E2E4A}"/>
              </a:ext>
            </a:extLst>
          </p:cNvPr>
          <p:cNvSpPr/>
          <p:nvPr/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3008 w 11736000"/>
              <a:gd name="connsiteY4" fmla="*/ 5688632 h 5796644"/>
              <a:gd name="connsiteX5" fmla="*/ 9072000 w 11736000"/>
              <a:gd name="connsiteY5" fmla="*/ 5688632 h 5796644"/>
              <a:gd name="connsiteX6" fmla="*/ 9072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5220580 h 5796644"/>
              <a:gd name="connsiteX10" fmla="*/ 0 w 11736000"/>
              <a:gd name="connsiteY10" fmla="*/ 1877957 h 5796644"/>
              <a:gd name="connsiteX11" fmla="*/ 540060 w 11736000"/>
              <a:gd name="connsiteY11" fmla="*/ 1877957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3008 w 11736000"/>
              <a:gd name="connsiteY4" fmla="*/ 5688632 h 5796644"/>
              <a:gd name="connsiteX5" fmla="*/ 9072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5688632 h 5796644"/>
              <a:gd name="connsiteX8" fmla="*/ 0 w 11736000"/>
              <a:gd name="connsiteY8" fmla="*/ 5220580 h 5796644"/>
              <a:gd name="connsiteX9" fmla="*/ 0 w 11736000"/>
              <a:gd name="connsiteY9" fmla="*/ 1877957 h 5796644"/>
              <a:gd name="connsiteX10" fmla="*/ 540060 w 11736000"/>
              <a:gd name="connsiteY10" fmla="*/ 1877957 h 5796644"/>
              <a:gd name="connsiteX11" fmla="*/ 540060 w 11736000"/>
              <a:gd name="connsiteY11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688632 h 5796644"/>
              <a:gd name="connsiteX7" fmla="*/ 0 w 11736000"/>
              <a:gd name="connsiteY7" fmla="*/ 5220580 h 5796644"/>
              <a:gd name="connsiteX8" fmla="*/ 0 w 11736000"/>
              <a:gd name="connsiteY8" fmla="*/ 1877957 h 5796644"/>
              <a:gd name="connsiteX9" fmla="*/ 540060 w 11736000"/>
              <a:gd name="connsiteY9" fmla="*/ 1877957 h 5796644"/>
              <a:gd name="connsiteX10" fmla="*/ 540060 w 11736000"/>
              <a:gd name="connsiteY10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220580 h 5796644"/>
              <a:gd name="connsiteX7" fmla="*/ 0 w 11736000"/>
              <a:gd name="connsiteY7" fmla="*/ 1877957 h 5796644"/>
              <a:gd name="connsiteX8" fmla="*/ 540060 w 11736000"/>
              <a:gd name="connsiteY8" fmla="*/ 1877957 h 5796644"/>
              <a:gd name="connsiteX9" fmla="*/ 540060 w 11736000"/>
              <a:gd name="connsiteY9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1877957 h 5796644"/>
              <a:gd name="connsiteX7" fmla="*/ 540060 w 11736000"/>
              <a:gd name="connsiteY7" fmla="*/ 1877957 h 5796644"/>
              <a:gd name="connsiteX8" fmla="*/ 540060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540060" y="0"/>
                </a:moveTo>
                <a:lnTo>
                  <a:pt x="11736000" y="0"/>
                </a:lnTo>
                <a:lnTo>
                  <a:pt x="11736000" y="4608512"/>
                </a:lnTo>
                <a:lnTo>
                  <a:pt x="9073008" y="4608512"/>
                </a:lnTo>
                <a:lnTo>
                  <a:pt x="9072000" y="5796644"/>
                </a:lnTo>
                <a:lnTo>
                  <a:pt x="0" y="5796644"/>
                </a:lnTo>
                <a:lnTo>
                  <a:pt x="0" y="1877957"/>
                </a:lnTo>
                <a:lnTo>
                  <a:pt x="540060" y="1877957"/>
                </a:lnTo>
                <a:lnTo>
                  <a:pt x="540060" y="0"/>
                </a:lnTo>
                <a:close/>
              </a:path>
            </a:pathLst>
          </a:custGeom>
          <a:solidFill>
            <a:srgbClr val="DAE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1736812"/>
            <a:ext cx="9540000" cy="470898"/>
          </a:xfrm>
        </p:spPr>
        <p:txBody>
          <a:bodyPr vert="horz" anchor="t"/>
          <a:lstStyle>
            <a:lvl1pPr>
              <a:defRPr sz="3400"/>
            </a:lvl1pPr>
          </a:lstStyle>
          <a:p>
            <a:r>
              <a:rPr lang="en-US" noProof="0" dirty="0"/>
              <a:t>Click to edit chapter subpoint</a:t>
            </a:r>
          </a:p>
        </p:txBody>
      </p:sp>
    </p:spTree>
    <p:extLst>
      <p:ext uri="{BB962C8B-B14F-4D97-AF65-F5344CB8AC3E}">
        <p14:creationId xmlns:p14="http://schemas.microsoft.com/office/powerpoint/2010/main" val="403857566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11736000" cy="4356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23968662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04012" y="1664804"/>
            <a:ext cx="576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232354520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378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1664804"/>
            <a:ext cx="3744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84232" y="1664804"/>
            <a:ext cx="378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40627552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525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14F18E71-29D3-41B6-BF4E-FC779991DD8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dark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88F0433-0C1E-45C4-91D5-A71D1E7489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34DC0D83-60BD-41F0-9FDA-B863EB5234F4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194667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3941FEE-12D0-4301-BC5C-B2AD93E102BB}"/>
              </a:ext>
            </a:extLst>
          </p:cNvPr>
          <p:cNvSpPr/>
          <p:nvPr/>
        </p:nvSpPr>
        <p:spPr bwMode="gray">
          <a:xfrm>
            <a:off x="227348" y="1448780"/>
            <a:ext cx="11736000" cy="4572000"/>
          </a:xfrm>
          <a:prstGeom prst="rect">
            <a:avLst/>
          </a:prstGeom>
          <a:solidFill>
            <a:srgbClr val="DAE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 lIns="216000" rIns="108000" bIns="21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6000" y="1448780"/>
            <a:ext cx="5868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12661441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 lIns="0" rIns="10800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6000" y="1448780"/>
            <a:ext cx="5868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5142795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7" y="1664804"/>
            <a:ext cx="3780000" cy="4356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050283F-AA6E-467A-B7F1-94C34E5D4D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1664804"/>
            <a:ext cx="3744000" cy="4356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69051D0B-3FCC-4D48-8087-C71E10FA7B0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184232" y="1448780"/>
            <a:ext cx="3780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18795658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25">
          <p15:clr>
            <a:srgbClr val="FBAE40"/>
          </p15:clr>
        </p15:guide>
        <p15:guide id="2" pos="2661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3717032"/>
            <a:ext cx="3780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3717032"/>
            <a:ext cx="3744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84232" y="3717032"/>
            <a:ext cx="3780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4" name="Picture Placeholder 38">
            <a:extLst>
              <a:ext uri="{FF2B5EF4-FFF2-40B4-BE49-F238E27FC236}">
                <a16:creationId xmlns:a16="http://schemas.microsoft.com/office/drawing/2014/main" id="{653CE5C9-004D-47BC-8A1D-014977EE421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1448780"/>
            <a:ext cx="3780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7" name="Picture Placeholder 38">
            <a:extLst>
              <a:ext uri="{FF2B5EF4-FFF2-40B4-BE49-F238E27FC236}">
                <a16:creationId xmlns:a16="http://schemas.microsoft.com/office/drawing/2014/main" id="{05A742C7-80B2-486A-90F8-02A76FC5306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4223794" y="1448780"/>
            <a:ext cx="3744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8" name="Picture Placeholder 38">
            <a:extLst>
              <a:ext uri="{FF2B5EF4-FFF2-40B4-BE49-F238E27FC236}">
                <a16:creationId xmlns:a16="http://schemas.microsoft.com/office/drawing/2014/main" id="{A3414379-7E42-45F0-B47B-9D12E2F5D0B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8184232" y="1448780"/>
            <a:ext cx="3780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2822506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525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  <a:endParaRPr lang="en-US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397920492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: Shape 19">
            <a:extLst>
              <a:ext uri="{FF2B5EF4-FFF2-40B4-BE49-F238E27FC236}">
                <a16:creationId xmlns:a16="http://schemas.microsoft.com/office/drawing/2014/main" id="{BF27BF86-1C59-440E-894C-FA93E0BDB21C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E5D2AF"/>
              </a:gs>
              <a:gs pos="100000">
                <a:srgbClr val="EDE1CF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82BFA7C-8CC0-46BD-86F3-9518A7539D6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2925312" y="697362"/>
            <a:ext cx="6372000" cy="447635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8DF27F43-6147-4006-B141-A88A3644CE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7EE0C09F-1761-489F-A154-87B8F84EF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8" name="Text Placeholder 20">
            <a:extLst>
              <a:ext uri="{FF2B5EF4-FFF2-40B4-BE49-F238E27FC236}">
                <a16:creationId xmlns:a16="http://schemas.microsoft.com/office/drawing/2014/main" id="{BB2C3296-6748-4658-9068-DDA715E120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-24680" y="-36004"/>
            <a:ext cx="0" cy="0"/>
          </a:xfrm>
          <a:noFill/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845FD22-7A3A-4557-8B9A-AC8987A3EA3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392202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7">
            <a:extLst>
              <a:ext uri="{FF2B5EF4-FFF2-40B4-BE49-F238E27FC236}">
                <a16:creationId xmlns:a16="http://schemas.microsoft.com/office/drawing/2014/main" id="{F1063ACD-2381-41A8-B20A-F2527A5C8863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E5D2AF"/>
              </a:gs>
              <a:gs pos="100000">
                <a:srgbClr val="EDE1CF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E62F1C35-8EB3-43FB-AC86-0F8629A0962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312024" y="224644"/>
            <a:ext cx="5651324" cy="6408000"/>
          </a:xfrm>
          <a:custGeom>
            <a:avLst/>
            <a:gdLst>
              <a:gd name="connsiteX0" fmla="*/ 0 w 5651324"/>
              <a:gd name="connsiteY0" fmla="*/ 0 h 6408000"/>
              <a:gd name="connsiteX1" fmla="*/ 5651324 w 5651324"/>
              <a:gd name="connsiteY1" fmla="*/ 0 h 6408000"/>
              <a:gd name="connsiteX2" fmla="*/ 5651324 w 5651324"/>
              <a:gd name="connsiteY2" fmla="*/ 5341097 h 6408000"/>
              <a:gd name="connsiteX3" fmla="*/ 2341176 w 5651324"/>
              <a:gd name="connsiteY3" fmla="*/ 5341097 h 6408000"/>
              <a:gd name="connsiteX4" fmla="*/ 2341176 w 5651324"/>
              <a:gd name="connsiteY4" fmla="*/ 5436604 h 6408000"/>
              <a:gd name="connsiteX5" fmla="*/ 2340260 w 5651324"/>
              <a:gd name="connsiteY5" fmla="*/ 5436604 h 6408000"/>
              <a:gd name="connsiteX6" fmla="*/ 2340260 w 5651324"/>
              <a:gd name="connsiteY6" fmla="*/ 6408000 h 6408000"/>
              <a:gd name="connsiteX7" fmla="*/ 0 w 5651324"/>
              <a:gd name="connsiteY7" fmla="*/ 6408000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51324" h="6408000">
                <a:moveTo>
                  <a:pt x="0" y="0"/>
                </a:moveTo>
                <a:lnTo>
                  <a:pt x="5651324" y="0"/>
                </a:lnTo>
                <a:lnTo>
                  <a:pt x="5651324" y="5341097"/>
                </a:lnTo>
                <a:lnTo>
                  <a:pt x="2341176" y="5341097"/>
                </a:lnTo>
                <a:lnTo>
                  <a:pt x="2341176" y="5436604"/>
                </a:lnTo>
                <a:lnTo>
                  <a:pt x="2340260" y="5436604"/>
                </a:lnTo>
                <a:lnTo>
                  <a:pt x="2340260" y="6408000"/>
                </a:lnTo>
                <a:lnTo>
                  <a:pt x="0" y="640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387659"/>
            <a:ext cx="5040000" cy="1177245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504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DFB5CDCA-C1F6-46D5-8114-EDF8C9050D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356CA35-6D04-4E0E-BA9F-B48057E1C379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625143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7">
            <a:extLst>
              <a:ext uri="{FF2B5EF4-FFF2-40B4-BE49-F238E27FC236}">
                <a16:creationId xmlns:a16="http://schemas.microsoft.com/office/drawing/2014/main" id="{873C5E77-B7AF-421D-BCE3-ABE852EEC1C5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E5D2AF"/>
              </a:gs>
              <a:gs pos="100000">
                <a:srgbClr val="EDE1CF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0034B150-7B5F-4F89-994B-8E2AF18CED6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312024" y="224644"/>
            <a:ext cx="5651324" cy="6408000"/>
          </a:xfrm>
          <a:custGeom>
            <a:avLst/>
            <a:gdLst>
              <a:gd name="connsiteX0" fmla="*/ 0 w 5651324"/>
              <a:gd name="connsiteY0" fmla="*/ 0 h 6408000"/>
              <a:gd name="connsiteX1" fmla="*/ 5651324 w 5651324"/>
              <a:gd name="connsiteY1" fmla="*/ 0 h 6408000"/>
              <a:gd name="connsiteX2" fmla="*/ 5651324 w 5651324"/>
              <a:gd name="connsiteY2" fmla="*/ 5341097 h 6408000"/>
              <a:gd name="connsiteX3" fmla="*/ 2341176 w 5651324"/>
              <a:gd name="connsiteY3" fmla="*/ 5341097 h 6408000"/>
              <a:gd name="connsiteX4" fmla="*/ 2341176 w 5651324"/>
              <a:gd name="connsiteY4" fmla="*/ 5436604 h 6408000"/>
              <a:gd name="connsiteX5" fmla="*/ 2340260 w 5651324"/>
              <a:gd name="connsiteY5" fmla="*/ 5436604 h 6408000"/>
              <a:gd name="connsiteX6" fmla="*/ 2340260 w 5651324"/>
              <a:gd name="connsiteY6" fmla="*/ 6408000 h 6408000"/>
              <a:gd name="connsiteX7" fmla="*/ 0 w 5651324"/>
              <a:gd name="connsiteY7" fmla="*/ 6408000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51324" h="6408000">
                <a:moveTo>
                  <a:pt x="0" y="0"/>
                </a:moveTo>
                <a:lnTo>
                  <a:pt x="5651324" y="0"/>
                </a:lnTo>
                <a:lnTo>
                  <a:pt x="5651324" y="5341097"/>
                </a:lnTo>
                <a:lnTo>
                  <a:pt x="2341176" y="5341097"/>
                </a:lnTo>
                <a:lnTo>
                  <a:pt x="2341176" y="5436604"/>
                </a:lnTo>
                <a:lnTo>
                  <a:pt x="2340260" y="5436604"/>
                </a:lnTo>
                <a:lnTo>
                  <a:pt x="2340260" y="6408000"/>
                </a:lnTo>
                <a:lnTo>
                  <a:pt x="0" y="640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387659"/>
            <a:ext cx="5040000" cy="1177245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504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DFB5CDCA-C1F6-46D5-8114-EDF8C9050D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3D55BDC-6C00-402B-90AA-F22696F3A647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88643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BCCB24D1-1930-4692-BCB4-2D015F3F3B1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To insert a light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88F0433-0C1E-45C4-91D5-A71D1E7489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034D38C5-1AE2-48F2-B904-368AF1BB919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146808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14F18E71-29D3-41B6-BF4E-FC779991DD8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dark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88F0433-0C1E-45C4-91D5-A71D1E7489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34DC0D83-60BD-41F0-9FDA-B863EB5234F4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39744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bespo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1EA27167-586B-4CD5-9939-5080A6B10AA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Title bespoke: add your own image with integrated key visual sails (see sample slides)</a:t>
            </a:r>
            <a:br>
              <a:rPr lang="en-US" noProof="0" dirty="0"/>
            </a:br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8358B27E-FB3F-41D5-92D8-EE8674AEF61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-24680" y="-36004"/>
            <a:ext cx="0" cy="0"/>
          </a:xfrm>
          <a:noFill/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426D35AF-E7A7-466A-A68A-C4638C2440D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35637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bespo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1EA27167-586B-4CD5-9939-5080A6B10AA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Title bespoke: add your own image with integrated key visual sails (see sample slides)</a:t>
            </a:r>
            <a:br>
              <a:rPr lang="en-US" noProof="0" dirty="0"/>
            </a:br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8358B27E-FB3F-41D5-92D8-EE8674AEF61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-24680" y="-36004"/>
            <a:ext cx="0" cy="0"/>
          </a:xfrm>
          <a:noFill/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426D35AF-E7A7-466A-A68A-C4638C2440D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789688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521616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520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55DD2651-0151-430C-B119-007B62690C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592796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1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09DC8B0-57A1-4F3A-BDDA-77B9AF0DE0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59396" y="1757427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7E436937-FEE7-4E3B-B2ED-EA8C59C28E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59396" y="2024844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16921189-9456-4725-8796-9A63F4FF2A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27348" y="2960948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2</a:t>
            </a:r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AE279508-3E84-4EBE-BA6B-3B720AECFA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59396" y="3125579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878AB44-EE12-455A-BBB0-B5C1D69C3B0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59396" y="3392996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96B76ADA-0F82-4009-B48F-06F5BE94347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27348" y="4329100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3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D769DA76-2E5E-4579-8580-F35E830E20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59396" y="4493731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EE63D31-8274-422B-BB5C-1322C346FFA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59396" y="4761148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2BA01F8F-457E-4EBD-A72E-F504F5EC57E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204012" y="1592796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4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EAF15CFC-3F46-4D43-B341-F497C9D37ED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636060" y="1757427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0E2EA731-5BB9-4EC1-8EB5-184ACE70DF1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636060" y="2024844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84BB2A9C-8535-467B-AC6B-C1B058B392B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204012" y="2960948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5</a:t>
            </a: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2DC572E8-1F82-4B53-AF7F-384B189AF8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636060" y="3125579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C054D566-3D6B-4B30-AF80-C1C61C87FC6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636060" y="3392996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594A9388-93DB-4C06-8ECA-D5F6FADED7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204012" y="4329100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6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D42822C5-6A82-408A-A140-9FDE7F4F3D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636060" y="4493731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90CB119A-0EC1-49E6-B7C7-90227128C7C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636060" y="4761148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</p:spTree>
    <p:extLst>
      <p:ext uri="{BB962C8B-B14F-4D97-AF65-F5344CB8AC3E}">
        <p14:creationId xmlns:p14="http://schemas.microsoft.com/office/powerpoint/2010/main" val="82048446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1A0FEDA4-5EFC-4CDF-A9C9-15CF8F34C7B4}"/>
              </a:ext>
            </a:extLst>
          </p:cNvPr>
          <p:cNvSpPr/>
          <p:nvPr/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4644516 h 5796644"/>
              <a:gd name="connsiteX10" fmla="*/ 0 w 11736000"/>
              <a:gd name="connsiteY10" fmla="*/ 2675674 h 5796644"/>
              <a:gd name="connsiteX11" fmla="*/ 432048 w 11736000"/>
              <a:gd name="connsiteY11" fmla="*/ 2675674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5688632 h 5796644"/>
              <a:gd name="connsiteX8" fmla="*/ 0 w 11736000"/>
              <a:gd name="connsiteY8" fmla="*/ 4644516 h 5796644"/>
              <a:gd name="connsiteX9" fmla="*/ 0 w 11736000"/>
              <a:gd name="connsiteY9" fmla="*/ 2675674 h 5796644"/>
              <a:gd name="connsiteX10" fmla="*/ 432048 w 11736000"/>
              <a:gd name="connsiteY10" fmla="*/ 2675674 h 5796644"/>
              <a:gd name="connsiteX11" fmla="*/ 432048 w 11736000"/>
              <a:gd name="connsiteY11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688632 h 5796644"/>
              <a:gd name="connsiteX7" fmla="*/ 0 w 11736000"/>
              <a:gd name="connsiteY7" fmla="*/ 4644516 h 5796644"/>
              <a:gd name="connsiteX8" fmla="*/ 0 w 11736000"/>
              <a:gd name="connsiteY8" fmla="*/ 2675674 h 5796644"/>
              <a:gd name="connsiteX9" fmla="*/ 432048 w 11736000"/>
              <a:gd name="connsiteY9" fmla="*/ 2675674 h 5796644"/>
              <a:gd name="connsiteX10" fmla="*/ 432048 w 11736000"/>
              <a:gd name="connsiteY10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4644516 h 5796644"/>
              <a:gd name="connsiteX7" fmla="*/ 0 w 11736000"/>
              <a:gd name="connsiteY7" fmla="*/ 2675674 h 5796644"/>
              <a:gd name="connsiteX8" fmla="*/ 432048 w 11736000"/>
              <a:gd name="connsiteY8" fmla="*/ 2675674 h 5796644"/>
              <a:gd name="connsiteX9" fmla="*/ 432048 w 11736000"/>
              <a:gd name="connsiteY9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2675674 h 5796644"/>
              <a:gd name="connsiteX7" fmla="*/ 432048 w 11736000"/>
              <a:gd name="connsiteY7" fmla="*/ 2675674 h 5796644"/>
              <a:gd name="connsiteX8" fmla="*/ 432048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432048" y="0"/>
                </a:moveTo>
                <a:lnTo>
                  <a:pt x="11736000" y="0"/>
                </a:lnTo>
                <a:lnTo>
                  <a:pt x="11736000" y="4392488"/>
                </a:lnTo>
                <a:lnTo>
                  <a:pt x="10837204" y="4392488"/>
                </a:lnTo>
                <a:cubicBezTo>
                  <a:pt x="10836803" y="4860540"/>
                  <a:pt x="10836401" y="5328592"/>
                  <a:pt x="10836000" y="5796644"/>
                </a:cubicBezTo>
                <a:lnTo>
                  <a:pt x="0" y="5796644"/>
                </a:lnTo>
                <a:lnTo>
                  <a:pt x="0" y="2675674"/>
                </a:lnTo>
                <a:lnTo>
                  <a:pt x="432048" y="2675674"/>
                </a:lnTo>
                <a:lnTo>
                  <a:pt x="432048" y="0"/>
                </a:lnTo>
                <a:close/>
              </a:path>
            </a:pathLst>
          </a:custGeom>
          <a:solidFill>
            <a:srgbClr val="E5D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2467925"/>
            <a:ext cx="9540000" cy="553998"/>
          </a:xfrm>
        </p:spPr>
        <p:txBody>
          <a:bodyPr vert="horz" anchor="t"/>
          <a:lstStyle>
            <a:lvl1pPr>
              <a:defRPr sz="4000"/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167662621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with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3F05F24-D816-4D5B-84FD-79986AC230E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4644516 h 5796644"/>
              <a:gd name="connsiteX10" fmla="*/ 0 w 11736000"/>
              <a:gd name="connsiteY10" fmla="*/ 2675674 h 5796644"/>
              <a:gd name="connsiteX11" fmla="*/ 432048 w 11736000"/>
              <a:gd name="connsiteY11" fmla="*/ 2675674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2675674 h 5796644"/>
              <a:gd name="connsiteX10" fmla="*/ 432048 w 11736000"/>
              <a:gd name="connsiteY10" fmla="*/ 2675674 h 5796644"/>
              <a:gd name="connsiteX11" fmla="*/ 432048 w 11736000"/>
              <a:gd name="connsiteY11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2675674 h 5796644"/>
              <a:gd name="connsiteX9" fmla="*/ 432048 w 11736000"/>
              <a:gd name="connsiteY9" fmla="*/ 2675674 h 5796644"/>
              <a:gd name="connsiteX10" fmla="*/ 432048 w 11736000"/>
              <a:gd name="connsiteY10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2675674 h 5796644"/>
              <a:gd name="connsiteX8" fmla="*/ 432048 w 11736000"/>
              <a:gd name="connsiteY8" fmla="*/ 2675674 h 5796644"/>
              <a:gd name="connsiteX9" fmla="*/ 432048 w 11736000"/>
              <a:gd name="connsiteY9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2675674 h 5796644"/>
              <a:gd name="connsiteX7" fmla="*/ 432048 w 11736000"/>
              <a:gd name="connsiteY7" fmla="*/ 2675674 h 5796644"/>
              <a:gd name="connsiteX8" fmla="*/ 432048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432048" y="0"/>
                </a:moveTo>
                <a:lnTo>
                  <a:pt x="11736000" y="0"/>
                </a:lnTo>
                <a:lnTo>
                  <a:pt x="11736000" y="4392488"/>
                </a:lnTo>
                <a:lnTo>
                  <a:pt x="10837204" y="4392488"/>
                </a:lnTo>
                <a:cubicBezTo>
                  <a:pt x="10836803" y="4860540"/>
                  <a:pt x="10836401" y="5328592"/>
                  <a:pt x="10836000" y="5796644"/>
                </a:cubicBezTo>
                <a:lnTo>
                  <a:pt x="0" y="5796644"/>
                </a:lnTo>
                <a:lnTo>
                  <a:pt x="0" y="2675674"/>
                </a:lnTo>
                <a:lnTo>
                  <a:pt x="432048" y="2675674"/>
                </a:lnTo>
                <a:lnTo>
                  <a:pt x="432048" y="0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576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2467925"/>
            <a:ext cx="9540000" cy="553998"/>
          </a:xfrm>
        </p:spPr>
        <p:txBody>
          <a:bodyPr vert="horz"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357228790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(subpoi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: Shape 4">
            <a:extLst>
              <a:ext uri="{FF2B5EF4-FFF2-40B4-BE49-F238E27FC236}">
                <a16:creationId xmlns:a16="http://schemas.microsoft.com/office/drawing/2014/main" id="{F4B0B860-97E1-4E48-AF47-5ECE2C8E2E4A}"/>
              </a:ext>
            </a:extLst>
          </p:cNvPr>
          <p:cNvSpPr/>
          <p:nvPr/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3008 w 11736000"/>
              <a:gd name="connsiteY4" fmla="*/ 5688632 h 5796644"/>
              <a:gd name="connsiteX5" fmla="*/ 9072000 w 11736000"/>
              <a:gd name="connsiteY5" fmla="*/ 5688632 h 5796644"/>
              <a:gd name="connsiteX6" fmla="*/ 9072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5220580 h 5796644"/>
              <a:gd name="connsiteX10" fmla="*/ 0 w 11736000"/>
              <a:gd name="connsiteY10" fmla="*/ 1877957 h 5796644"/>
              <a:gd name="connsiteX11" fmla="*/ 540060 w 11736000"/>
              <a:gd name="connsiteY11" fmla="*/ 1877957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3008 w 11736000"/>
              <a:gd name="connsiteY4" fmla="*/ 5688632 h 5796644"/>
              <a:gd name="connsiteX5" fmla="*/ 9072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5688632 h 5796644"/>
              <a:gd name="connsiteX8" fmla="*/ 0 w 11736000"/>
              <a:gd name="connsiteY8" fmla="*/ 5220580 h 5796644"/>
              <a:gd name="connsiteX9" fmla="*/ 0 w 11736000"/>
              <a:gd name="connsiteY9" fmla="*/ 1877957 h 5796644"/>
              <a:gd name="connsiteX10" fmla="*/ 540060 w 11736000"/>
              <a:gd name="connsiteY10" fmla="*/ 1877957 h 5796644"/>
              <a:gd name="connsiteX11" fmla="*/ 540060 w 11736000"/>
              <a:gd name="connsiteY11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688632 h 5796644"/>
              <a:gd name="connsiteX7" fmla="*/ 0 w 11736000"/>
              <a:gd name="connsiteY7" fmla="*/ 5220580 h 5796644"/>
              <a:gd name="connsiteX8" fmla="*/ 0 w 11736000"/>
              <a:gd name="connsiteY8" fmla="*/ 1877957 h 5796644"/>
              <a:gd name="connsiteX9" fmla="*/ 540060 w 11736000"/>
              <a:gd name="connsiteY9" fmla="*/ 1877957 h 5796644"/>
              <a:gd name="connsiteX10" fmla="*/ 540060 w 11736000"/>
              <a:gd name="connsiteY10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220580 h 5796644"/>
              <a:gd name="connsiteX7" fmla="*/ 0 w 11736000"/>
              <a:gd name="connsiteY7" fmla="*/ 1877957 h 5796644"/>
              <a:gd name="connsiteX8" fmla="*/ 540060 w 11736000"/>
              <a:gd name="connsiteY8" fmla="*/ 1877957 h 5796644"/>
              <a:gd name="connsiteX9" fmla="*/ 540060 w 11736000"/>
              <a:gd name="connsiteY9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1877957 h 5796644"/>
              <a:gd name="connsiteX7" fmla="*/ 540060 w 11736000"/>
              <a:gd name="connsiteY7" fmla="*/ 1877957 h 5796644"/>
              <a:gd name="connsiteX8" fmla="*/ 540060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540060" y="0"/>
                </a:moveTo>
                <a:lnTo>
                  <a:pt x="11736000" y="0"/>
                </a:lnTo>
                <a:lnTo>
                  <a:pt x="11736000" y="4608512"/>
                </a:lnTo>
                <a:lnTo>
                  <a:pt x="9073008" y="4608512"/>
                </a:lnTo>
                <a:lnTo>
                  <a:pt x="9072000" y="5796644"/>
                </a:lnTo>
                <a:lnTo>
                  <a:pt x="0" y="5796644"/>
                </a:lnTo>
                <a:lnTo>
                  <a:pt x="0" y="1877957"/>
                </a:lnTo>
                <a:lnTo>
                  <a:pt x="540060" y="1877957"/>
                </a:lnTo>
                <a:lnTo>
                  <a:pt x="540060" y="0"/>
                </a:lnTo>
                <a:close/>
              </a:path>
            </a:pathLst>
          </a:custGeom>
          <a:solidFill>
            <a:srgbClr val="EDE1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1736812"/>
            <a:ext cx="9540000" cy="470898"/>
          </a:xfrm>
        </p:spPr>
        <p:txBody>
          <a:bodyPr vert="horz" anchor="t"/>
          <a:lstStyle>
            <a:lvl1pPr>
              <a:defRPr sz="3400"/>
            </a:lvl1pPr>
          </a:lstStyle>
          <a:p>
            <a:r>
              <a:rPr lang="en-US" noProof="0" dirty="0"/>
              <a:t>Click to edit chapter subpoint</a:t>
            </a:r>
          </a:p>
        </p:txBody>
      </p:sp>
    </p:spTree>
    <p:extLst>
      <p:ext uri="{BB962C8B-B14F-4D97-AF65-F5344CB8AC3E}">
        <p14:creationId xmlns:p14="http://schemas.microsoft.com/office/powerpoint/2010/main" val="277347005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11736000" cy="4356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358203086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04012" y="1664804"/>
            <a:ext cx="576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254058532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378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1664804"/>
            <a:ext cx="3744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84232" y="1664804"/>
            <a:ext cx="378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2228676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525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3941FEE-12D0-4301-BC5C-B2AD93E102BB}"/>
              </a:ext>
            </a:extLst>
          </p:cNvPr>
          <p:cNvSpPr/>
          <p:nvPr/>
        </p:nvSpPr>
        <p:spPr bwMode="gray">
          <a:xfrm>
            <a:off x="227348" y="1448780"/>
            <a:ext cx="11736000" cy="4572000"/>
          </a:xfrm>
          <a:prstGeom prst="rect">
            <a:avLst/>
          </a:prstGeom>
          <a:solidFill>
            <a:srgbClr val="EDE1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 lIns="216000" rIns="108000" bIns="21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6000" y="1448780"/>
            <a:ext cx="5868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26590291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 lIns="0" rIns="10800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6000" y="1448780"/>
            <a:ext cx="5868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15701013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521616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520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55DD2651-0151-430C-B119-007B62690C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592796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1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09DC8B0-57A1-4F3A-BDDA-77B9AF0DE0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59396" y="1757427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7E436937-FEE7-4E3B-B2ED-EA8C59C28E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59396" y="2024844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16921189-9456-4725-8796-9A63F4FF2A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27348" y="2960948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2</a:t>
            </a:r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AE279508-3E84-4EBE-BA6B-3B720AECFA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59396" y="3125579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878AB44-EE12-455A-BBB0-B5C1D69C3B0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59396" y="3392996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96B76ADA-0F82-4009-B48F-06F5BE94347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27348" y="4329100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3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D769DA76-2E5E-4579-8580-F35E830E20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59396" y="4493731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EE63D31-8274-422B-BB5C-1322C346FFA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59396" y="4761148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2BA01F8F-457E-4EBD-A72E-F504F5EC57E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204012" y="1592796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4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EAF15CFC-3F46-4D43-B341-F497C9D37ED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636060" y="1757427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0E2EA731-5BB9-4EC1-8EB5-184ACE70DF1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636060" y="2024844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84BB2A9C-8535-467B-AC6B-C1B058B392B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204012" y="2960948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5</a:t>
            </a: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2DC572E8-1F82-4B53-AF7F-384B189AF8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636060" y="3125579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C054D566-3D6B-4B30-AF80-C1C61C87FC6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636060" y="3392996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594A9388-93DB-4C06-8ECA-D5F6FADED7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204012" y="4329100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6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D42822C5-6A82-408A-A140-9FDE7F4F3D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636060" y="4493731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90CB119A-0EC1-49E6-B7C7-90227128C7C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636060" y="4761148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</p:spTree>
    <p:extLst>
      <p:ext uri="{BB962C8B-B14F-4D97-AF65-F5344CB8AC3E}">
        <p14:creationId xmlns:p14="http://schemas.microsoft.com/office/powerpoint/2010/main" val="50536297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7" y="1664804"/>
            <a:ext cx="3780000" cy="4356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050283F-AA6E-467A-B7F1-94C34E5D4D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1664804"/>
            <a:ext cx="3744000" cy="4356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69051D0B-3FCC-4D48-8087-C71E10FA7B0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184232" y="1448780"/>
            <a:ext cx="3780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0524671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25">
          <p15:clr>
            <a:srgbClr val="FBAE40"/>
          </p15:clr>
        </p15:guide>
        <p15:guide id="2" pos="2661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3717032"/>
            <a:ext cx="3780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3717032"/>
            <a:ext cx="3744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84232" y="3717032"/>
            <a:ext cx="3780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4" name="Picture Placeholder 38">
            <a:extLst>
              <a:ext uri="{FF2B5EF4-FFF2-40B4-BE49-F238E27FC236}">
                <a16:creationId xmlns:a16="http://schemas.microsoft.com/office/drawing/2014/main" id="{653CE5C9-004D-47BC-8A1D-014977EE421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1448780"/>
            <a:ext cx="3780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7" name="Picture Placeholder 38">
            <a:extLst>
              <a:ext uri="{FF2B5EF4-FFF2-40B4-BE49-F238E27FC236}">
                <a16:creationId xmlns:a16="http://schemas.microsoft.com/office/drawing/2014/main" id="{05A742C7-80B2-486A-90F8-02A76FC5306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4223794" y="1448780"/>
            <a:ext cx="3744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8" name="Picture Placeholder 38">
            <a:extLst>
              <a:ext uri="{FF2B5EF4-FFF2-40B4-BE49-F238E27FC236}">
                <a16:creationId xmlns:a16="http://schemas.microsoft.com/office/drawing/2014/main" id="{A3414379-7E42-45F0-B47B-9D12E2F5D0B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8184232" y="1448780"/>
            <a:ext cx="3780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811589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525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  <a:endParaRPr lang="en-US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161577005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: Shape 19">
            <a:extLst>
              <a:ext uri="{FF2B5EF4-FFF2-40B4-BE49-F238E27FC236}">
                <a16:creationId xmlns:a16="http://schemas.microsoft.com/office/drawing/2014/main" id="{BF27BF86-1C59-440E-894C-FA93E0BDB21C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E6BDAB"/>
              </a:gs>
              <a:gs pos="100000">
                <a:srgbClr val="F3DFD4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82BFA7C-8CC0-46BD-86F3-9518A7539D6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2925312" y="697362"/>
            <a:ext cx="6372000" cy="447635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8DF27F43-6147-4006-B141-A88A3644CE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7EE0C09F-1761-489F-A154-87B8F84EF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8" name="Text Placeholder 20">
            <a:extLst>
              <a:ext uri="{FF2B5EF4-FFF2-40B4-BE49-F238E27FC236}">
                <a16:creationId xmlns:a16="http://schemas.microsoft.com/office/drawing/2014/main" id="{BB2C3296-6748-4658-9068-DDA715E120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-24680" y="-36004"/>
            <a:ext cx="0" cy="0"/>
          </a:xfrm>
          <a:noFill/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845FD22-7A3A-4557-8B9A-AC8987A3EA3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866574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7">
            <a:extLst>
              <a:ext uri="{FF2B5EF4-FFF2-40B4-BE49-F238E27FC236}">
                <a16:creationId xmlns:a16="http://schemas.microsoft.com/office/drawing/2014/main" id="{F1063ACD-2381-41A8-B20A-F2527A5C8863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E6BDAB"/>
              </a:gs>
              <a:gs pos="100000">
                <a:srgbClr val="F3DFD4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E62F1C35-8EB3-43FB-AC86-0F8629A0962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312024" y="224644"/>
            <a:ext cx="5651324" cy="6408000"/>
          </a:xfrm>
          <a:custGeom>
            <a:avLst/>
            <a:gdLst>
              <a:gd name="connsiteX0" fmla="*/ 0 w 5651324"/>
              <a:gd name="connsiteY0" fmla="*/ 0 h 6408000"/>
              <a:gd name="connsiteX1" fmla="*/ 5651324 w 5651324"/>
              <a:gd name="connsiteY1" fmla="*/ 0 h 6408000"/>
              <a:gd name="connsiteX2" fmla="*/ 5651324 w 5651324"/>
              <a:gd name="connsiteY2" fmla="*/ 5341097 h 6408000"/>
              <a:gd name="connsiteX3" fmla="*/ 2341176 w 5651324"/>
              <a:gd name="connsiteY3" fmla="*/ 5341097 h 6408000"/>
              <a:gd name="connsiteX4" fmla="*/ 2341176 w 5651324"/>
              <a:gd name="connsiteY4" fmla="*/ 5436604 h 6408000"/>
              <a:gd name="connsiteX5" fmla="*/ 2340260 w 5651324"/>
              <a:gd name="connsiteY5" fmla="*/ 5436604 h 6408000"/>
              <a:gd name="connsiteX6" fmla="*/ 2340260 w 5651324"/>
              <a:gd name="connsiteY6" fmla="*/ 6408000 h 6408000"/>
              <a:gd name="connsiteX7" fmla="*/ 0 w 5651324"/>
              <a:gd name="connsiteY7" fmla="*/ 6408000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51324" h="6408000">
                <a:moveTo>
                  <a:pt x="0" y="0"/>
                </a:moveTo>
                <a:lnTo>
                  <a:pt x="5651324" y="0"/>
                </a:lnTo>
                <a:lnTo>
                  <a:pt x="5651324" y="5341097"/>
                </a:lnTo>
                <a:lnTo>
                  <a:pt x="2341176" y="5341097"/>
                </a:lnTo>
                <a:lnTo>
                  <a:pt x="2341176" y="5436604"/>
                </a:lnTo>
                <a:lnTo>
                  <a:pt x="2340260" y="5436604"/>
                </a:lnTo>
                <a:lnTo>
                  <a:pt x="2340260" y="6408000"/>
                </a:lnTo>
                <a:lnTo>
                  <a:pt x="0" y="640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387659"/>
            <a:ext cx="5040000" cy="1177245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504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DFB5CDCA-C1F6-46D5-8114-EDF8C9050D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356CA35-6D04-4E0E-BA9F-B48057E1C379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292569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7">
            <a:extLst>
              <a:ext uri="{FF2B5EF4-FFF2-40B4-BE49-F238E27FC236}">
                <a16:creationId xmlns:a16="http://schemas.microsoft.com/office/drawing/2014/main" id="{873C5E77-B7AF-421D-BCE3-ABE852EEC1C5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E6BDAB"/>
              </a:gs>
              <a:gs pos="100000">
                <a:srgbClr val="F3DFD4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0034B150-7B5F-4F89-994B-8E2AF18CED6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312024" y="224644"/>
            <a:ext cx="5651324" cy="6408000"/>
          </a:xfrm>
          <a:custGeom>
            <a:avLst/>
            <a:gdLst>
              <a:gd name="connsiteX0" fmla="*/ 0 w 5651324"/>
              <a:gd name="connsiteY0" fmla="*/ 0 h 6408000"/>
              <a:gd name="connsiteX1" fmla="*/ 5651324 w 5651324"/>
              <a:gd name="connsiteY1" fmla="*/ 0 h 6408000"/>
              <a:gd name="connsiteX2" fmla="*/ 5651324 w 5651324"/>
              <a:gd name="connsiteY2" fmla="*/ 5341097 h 6408000"/>
              <a:gd name="connsiteX3" fmla="*/ 2341176 w 5651324"/>
              <a:gd name="connsiteY3" fmla="*/ 5341097 h 6408000"/>
              <a:gd name="connsiteX4" fmla="*/ 2341176 w 5651324"/>
              <a:gd name="connsiteY4" fmla="*/ 5436604 h 6408000"/>
              <a:gd name="connsiteX5" fmla="*/ 2340260 w 5651324"/>
              <a:gd name="connsiteY5" fmla="*/ 5436604 h 6408000"/>
              <a:gd name="connsiteX6" fmla="*/ 2340260 w 5651324"/>
              <a:gd name="connsiteY6" fmla="*/ 6408000 h 6408000"/>
              <a:gd name="connsiteX7" fmla="*/ 0 w 5651324"/>
              <a:gd name="connsiteY7" fmla="*/ 6408000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51324" h="6408000">
                <a:moveTo>
                  <a:pt x="0" y="0"/>
                </a:moveTo>
                <a:lnTo>
                  <a:pt x="5651324" y="0"/>
                </a:lnTo>
                <a:lnTo>
                  <a:pt x="5651324" y="5341097"/>
                </a:lnTo>
                <a:lnTo>
                  <a:pt x="2341176" y="5341097"/>
                </a:lnTo>
                <a:lnTo>
                  <a:pt x="2341176" y="5436604"/>
                </a:lnTo>
                <a:lnTo>
                  <a:pt x="2340260" y="5436604"/>
                </a:lnTo>
                <a:lnTo>
                  <a:pt x="2340260" y="6408000"/>
                </a:lnTo>
                <a:lnTo>
                  <a:pt x="0" y="640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387659"/>
            <a:ext cx="5040000" cy="1177245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504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DFB5CDCA-C1F6-46D5-8114-EDF8C9050D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3D55BDC-6C00-402B-90AA-F22696F3A647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991501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BCCB24D1-1930-4692-BCB4-2D015F3F3B1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To insert a light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88F0433-0C1E-45C4-91D5-A71D1E7489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034D38C5-1AE2-48F2-B904-368AF1BB919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19918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14F18E71-29D3-41B6-BF4E-FC779991DD8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dark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88F0433-0C1E-45C4-91D5-A71D1E7489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34DC0D83-60BD-41F0-9FDA-B863EB5234F4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418885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bespo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1EA27167-586B-4CD5-9939-5080A6B10AA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Title bespoke: add your own image with integrated key visual sails (see sample slides)</a:t>
            </a:r>
            <a:br>
              <a:rPr lang="en-US" noProof="0" dirty="0"/>
            </a:br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8358B27E-FB3F-41D5-92D8-EE8674AEF61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-24680" y="-36004"/>
            <a:ext cx="0" cy="0"/>
          </a:xfrm>
          <a:noFill/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426D35AF-E7A7-466A-A68A-C4638C2440D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173246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521616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520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55DD2651-0151-430C-B119-007B62690C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592796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1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09DC8B0-57A1-4F3A-BDDA-77B9AF0DE0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59396" y="1757427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7E436937-FEE7-4E3B-B2ED-EA8C59C28E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59396" y="2024844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16921189-9456-4725-8796-9A63F4FF2A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27348" y="2960948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2</a:t>
            </a:r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AE279508-3E84-4EBE-BA6B-3B720AECFA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59396" y="3125579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878AB44-EE12-455A-BBB0-B5C1D69C3B0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59396" y="3392996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96B76ADA-0F82-4009-B48F-06F5BE94347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27348" y="4329100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3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D769DA76-2E5E-4579-8580-F35E830E20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59396" y="4493731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EE63D31-8274-422B-BB5C-1322C346FFA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59396" y="4761148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2BA01F8F-457E-4EBD-A72E-F504F5EC57E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204012" y="1592796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4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EAF15CFC-3F46-4D43-B341-F497C9D37ED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636060" y="1757427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0E2EA731-5BB9-4EC1-8EB5-184ACE70DF1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636060" y="2024844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84BB2A9C-8535-467B-AC6B-C1B058B392B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204012" y="2960948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5</a:t>
            </a: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2DC572E8-1F82-4B53-AF7F-384B189AF8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636060" y="3125579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C054D566-3D6B-4B30-AF80-C1C61C87FC6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636060" y="3392996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594A9388-93DB-4C06-8ECA-D5F6FADED7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204012" y="4329100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6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D42822C5-6A82-408A-A140-9FDE7F4F3D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636060" y="4493731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90CB119A-0EC1-49E6-B7C7-90227128C7C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636060" y="4761148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</p:spTree>
    <p:extLst>
      <p:ext uri="{BB962C8B-B14F-4D97-AF65-F5344CB8AC3E}">
        <p14:creationId xmlns:p14="http://schemas.microsoft.com/office/powerpoint/2010/main" val="23931384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1A0FEDA4-5EFC-4CDF-A9C9-15CF8F34C7B4}"/>
              </a:ext>
            </a:extLst>
          </p:cNvPr>
          <p:cNvSpPr/>
          <p:nvPr/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4644516 h 5796644"/>
              <a:gd name="connsiteX10" fmla="*/ 0 w 11736000"/>
              <a:gd name="connsiteY10" fmla="*/ 2675674 h 5796644"/>
              <a:gd name="connsiteX11" fmla="*/ 432048 w 11736000"/>
              <a:gd name="connsiteY11" fmla="*/ 2675674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5688632 h 5796644"/>
              <a:gd name="connsiteX8" fmla="*/ 0 w 11736000"/>
              <a:gd name="connsiteY8" fmla="*/ 4644516 h 5796644"/>
              <a:gd name="connsiteX9" fmla="*/ 0 w 11736000"/>
              <a:gd name="connsiteY9" fmla="*/ 2675674 h 5796644"/>
              <a:gd name="connsiteX10" fmla="*/ 432048 w 11736000"/>
              <a:gd name="connsiteY10" fmla="*/ 2675674 h 5796644"/>
              <a:gd name="connsiteX11" fmla="*/ 432048 w 11736000"/>
              <a:gd name="connsiteY11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688632 h 5796644"/>
              <a:gd name="connsiteX7" fmla="*/ 0 w 11736000"/>
              <a:gd name="connsiteY7" fmla="*/ 4644516 h 5796644"/>
              <a:gd name="connsiteX8" fmla="*/ 0 w 11736000"/>
              <a:gd name="connsiteY8" fmla="*/ 2675674 h 5796644"/>
              <a:gd name="connsiteX9" fmla="*/ 432048 w 11736000"/>
              <a:gd name="connsiteY9" fmla="*/ 2675674 h 5796644"/>
              <a:gd name="connsiteX10" fmla="*/ 432048 w 11736000"/>
              <a:gd name="connsiteY10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4644516 h 5796644"/>
              <a:gd name="connsiteX7" fmla="*/ 0 w 11736000"/>
              <a:gd name="connsiteY7" fmla="*/ 2675674 h 5796644"/>
              <a:gd name="connsiteX8" fmla="*/ 432048 w 11736000"/>
              <a:gd name="connsiteY8" fmla="*/ 2675674 h 5796644"/>
              <a:gd name="connsiteX9" fmla="*/ 432048 w 11736000"/>
              <a:gd name="connsiteY9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2675674 h 5796644"/>
              <a:gd name="connsiteX7" fmla="*/ 432048 w 11736000"/>
              <a:gd name="connsiteY7" fmla="*/ 2675674 h 5796644"/>
              <a:gd name="connsiteX8" fmla="*/ 432048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432048" y="0"/>
                </a:moveTo>
                <a:lnTo>
                  <a:pt x="11736000" y="0"/>
                </a:lnTo>
                <a:lnTo>
                  <a:pt x="11736000" y="4392488"/>
                </a:lnTo>
                <a:lnTo>
                  <a:pt x="10837204" y="4392488"/>
                </a:lnTo>
                <a:cubicBezTo>
                  <a:pt x="10836803" y="4860540"/>
                  <a:pt x="10836401" y="5328592"/>
                  <a:pt x="10836000" y="5796644"/>
                </a:cubicBezTo>
                <a:lnTo>
                  <a:pt x="0" y="5796644"/>
                </a:lnTo>
                <a:lnTo>
                  <a:pt x="0" y="2675674"/>
                </a:lnTo>
                <a:lnTo>
                  <a:pt x="432048" y="2675674"/>
                </a:lnTo>
                <a:lnTo>
                  <a:pt x="432048" y="0"/>
                </a:lnTo>
                <a:close/>
              </a:path>
            </a:pathLst>
          </a:custGeom>
          <a:solidFill>
            <a:srgbClr val="A7BB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2467925"/>
            <a:ext cx="9540000" cy="553998"/>
          </a:xfrm>
        </p:spPr>
        <p:txBody>
          <a:bodyPr vert="horz" anchor="t"/>
          <a:lstStyle>
            <a:lvl1pPr>
              <a:defRPr sz="4000"/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419570641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1A0FEDA4-5EFC-4CDF-A9C9-15CF8F34C7B4}"/>
              </a:ext>
            </a:extLst>
          </p:cNvPr>
          <p:cNvSpPr/>
          <p:nvPr/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4644516 h 5796644"/>
              <a:gd name="connsiteX10" fmla="*/ 0 w 11736000"/>
              <a:gd name="connsiteY10" fmla="*/ 2675674 h 5796644"/>
              <a:gd name="connsiteX11" fmla="*/ 432048 w 11736000"/>
              <a:gd name="connsiteY11" fmla="*/ 2675674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5688632 h 5796644"/>
              <a:gd name="connsiteX8" fmla="*/ 0 w 11736000"/>
              <a:gd name="connsiteY8" fmla="*/ 4644516 h 5796644"/>
              <a:gd name="connsiteX9" fmla="*/ 0 w 11736000"/>
              <a:gd name="connsiteY9" fmla="*/ 2675674 h 5796644"/>
              <a:gd name="connsiteX10" fmla="*/ 432048 w 11736000"/>
              <a:gd name="connsiteY10" fmla="*/ 2675674 h 5796644"/>
              <a:gd name="connsiteX11" fmla="*/ 432048 w 11736000"/>
              <a:gd name="connsiteY11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688632 h 5796644"/>
              <a:gd name="connsiteX7" fmla="*/ 0 w 11736000"/>
              <a:gd name="connsiteY7" fmla="*/ 4644516 h 5796644"/>
              <a:gd name="connsiteX8" fmla="*/ 0 w 11736000"/>
              <a:gd name="connsiteY8" fmla="*/ 2675674 h 5796644"/>
              <a:gd name="connsiteX9" fmla="*/ 432048 w 11736000"/>
              <a:gd name="connsiteY9" fmla="*/ 2675674 h 5796644"/>
              <a:gd name="connsiteX10" fmla="*/ 432048 w 11736000"/>
              <a:gd name="connsiteY10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4644516 h 5796644"/>
              <a:gd name="connsiteX7" fmla="*/ 0 w 11736000"/>
              <a:gd name="connsiteY7" fmla="*/ 2675674 h 5796644"/>
              <a:gd name="connsiteX8" fmla="*/ 432048 w 11736000"/>
              <a:gd name="connsiteY8" fmla="*/ 2675674 h 5796644"/>
              <a:gd name="connsiteX9" fmla="*/ 432048 w 11736000"/>
              <a:gd name="connsiteY9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2675674 h 5796644"/>
              <a:gd name="connsiteX7" fmla="*/ 432048 w 11736000"/>
              <a:gd name="connsiteY7" fmla="*/ 2675674 h 5796644"/>
              <a:gd name="connsiteX8" fmla="*/ 432048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432048" y="0"/>
                </a:moveTo>
                <a:lnTo>
                  <a:pt x="11736000" y="0"/>
                </a:lnTo>
                <a:lnTo>
                  <a:pt x="11736000" y="4392488"/>
                </a:lnTo>
                <a:lnTo>
                  <a:pt x="10837204" y="4392488"/>
                </a:lnTo>
                <a:cubicBezTo>
                  <a:pt x="10836803" y="4860540"/>
                  <a:pt x="10836401" y="5328592"/>
                  <a:pt x="10836000" y="5796644"/>
                </a:cubicBezTo>
                <a:lnTo>
                  <a:pt x="0" y="5796644"/>
                </a:lnTo>
                <a:lnTo>
                  <a:pt x="0" y="2675674"/>
                </a:lnTo>
                <a:lnTo>
                  <a:pt x="432048" y="2675674"/>
                </a:lnTo>
                <a:lnTo>
                  <a:pt x="432048" y="0"/>
                </a:lnTo>
                <a:close/>
              </a:path>
            </a:pathLst>
          </a:custGeom>
          <a:solidFill>
            <a:srgbClr val="E6BD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2467925"/>
            <a:ext cx="9540000" cy="553998"/>
          </a:xfrm>
        </p:spPr>
        <p:txBody>
          <a:bodyPr vert="horz" anchor="t"/>
          <a:lstStyle>
            <a:lvl1pPr>
              <a:defRPr sz="4000"/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370341011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with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3F05F24-D816-4D5B-84FD-79986AC230E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4644516 h 5796644"/>
              <a:gd name="connsiteX10" fmla="*/ 0 w 11736000"/>
              <a:gd name="connsiteY10" fmla="*/ 2675674 h 5796644"/>
              <a:gd name="connsiteX11" fmla="*/ 432048 w 11736000"/>
              <a:gd name="connsiteY11" fmla="*/ 2675674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2675674 h 5796644"/>
              <a:gd name="connsiteX10" fmla="*/ 432048 w 11736000"/>
              <a:gd name="connsiteY10" fmla="*/ 2675674 h 5796644"/>
              <a:gd name="connsiteX11" fmla="*/ 432048 w 11736000"/>
              <a:gd name="connsiteY11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2675674 h 5796644"/>
              <a:gd name="connsiteX9" fmla="*/ 432048 w 11736000"/>
              <a:gd name="connsiteY9" fmla="*/ 2675674 h 5796644"/>
              <a:gd name="connsiteX10" fmla="*/ 432048 w 11736000"/>
              <a:gd name="connsiteY10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2675674 h 5796644"/>
              <a:gd name="connsiteX8" fmla="*/ 432048 w 11736000"/>
              <a:gd name="connsiteY8" fmla="*/ 2675674 h 5796644"/>
              <a:gd name="connsiteX9" fmla="*/ 432048 w 11736000"/>
              <a:gd name="connsiteY9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2675674 h 5796644"/>
              <a:gd name="connsiteX7" fmla="*/ 432048 w 11736000"/>
              <a:gd name="connsiteY7" fmla="*/ 2675674 h 5796644"/>
              <a:gd name="connsiteX8" fmla="*/ 432048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432048" y="0"/>
                </a:moveTo>
                <a:lnTo>
                  <a:pt x="11736000" y="0"/>
                </a:lnTo>
                <a:lnTo>
                  <a:pt x="11736000" y="4392488"/>
                </a:lnTo>
                <a:lnTo>
                  <a:pt x="10837204" y="4392488"/>
                </a:lnTo>
                <a:cubicBezTo>
                  <a:pt x="10836803" y="4860540"/>
                  <a:pt x="10836401" y="5328592"/>
                  <a:pt x="10836000" y="5796644"/>
                </a:cubicBezTo>
                <a:lnTo>
                  <a:pt x="0" y="5796644"/>
                </a:lnTo>
                <a:lnTo>
                  <a:pt x="0" y="2675674"/>
                </a:lnTo>
                <a:lnTo>
                  <a:pt x="432048" y="2675674"/>
                </a:lnTo>
                <a:lnTo>
                  <a:pt x="432048" y="0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576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2467925"/>
            <a:ext cx="9540000" cy="553998"/>
          </a:xfrm>
        </p:spPr>
        <p:txBody>
          <a:bodyPr vert="horz"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253938572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(subpoi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: Shape 4">
            <a:extLst>
              <a:ext uri="{FF2B5EF4-FFF2-40B4-BE49-F238E27FC236}">
                <a16:creationId xmlns:a16="http://schemas.microsoft.com/office/drawing/2014/main" id="{F4B0B860-97E1-4E48-AF47-5ECE2C8E2E4A}"/>
              </a:ext>
            </a:extLst>
          </p:cNvPr>
          <p:cNvSpPr/>
          <p:nvPr/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3008 w 11736000"/>
              <a:gd name="connsiteY4" fmla="*/ 5688632 h 5796644"/>
              <a:gd name="connsiteX5" fmla="*/ 9072000 w 11736000"/>
              <a:gd name="connsiteY5" fmla="*/ 5688632 h 5796644"/>
              <a:gd name="connsiteX6" fmla="*/ 9072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5220580 h 5796644"/>
              <a:gd name="connsiteX10" fmla="*/ 0 w 11736000"/>
              <a:gd name="connsiteY10" fmla="*/ 1877957 h 5796644"/>
              <a:gd name="connsiteX11" fmla="*/ 540060 w 11736000"/>
              <a:gd name="connsiteY11" fmla="*/ 1877957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3008 w 11736000"/>
              <a:gd name="connsiteY4" fmla="*/ 5688632 h 5796644"/>
              <a:gd name="connsiteX5" fmla="*/ 9072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5688632 h 5796644"/>
              <a:gd name="connsiteX8" fmla="*/ 0 w 11736000"/>
              <a:gd name="connsiteY8" fmla="*/ 5220580 h 5796644"/>
              <a:gd name="connsiteX9" fmla="*/ 0 w 11736000"/>
              <a:gd name="connsiteY9" fmla="*/ 1877957 h 5796644"/>
              <a:gd name="connsiteX10" fmla="*/ 540060 w 11736000"/>
              <a:gd name="connsiteY10" fmla="*/ 1877957 h 5796644"/>
              <a:gd name="connsiteX11" fmla="*/ 540060 w 11736000"/>
              <a:gd name="connsiteY11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688632 h 5796644"/>
              <a:gd name="connsiteX7" fmla="*/ 0 w 11736000"/>
              <a:gd name="connsiteY7" fmla="*/ 5220580 h 5796644"/>
              <a:gd name="connsiteX8" fmla="*/ 0 w 11736000"/>
              <a:gd name="connsiteY8" fmla="*/ 1877957 h 5796644"/>
              <a:gd name="connsiteX9" fmla="*/ 540060 w 11736000"/>
              <a:gd name="connsiteY9" fmla="*/ 1877957 h 5796644"/>
              <a:gd name="connsiteX10" fmla="*/ 540060 w 11736000"/>
              <a:gd name="connsiteY10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220580 h 5796644"/>
              <a:gd name="connsiteX7" fmla="*/ 0 w 11736000"/>
              <a:gd name="connsiteY7" fmla="*/ 1877957 h 5796644"/>
              <a:gd name="connsiteX8" fmla="*/ 540060 w 11736000"/>
              <a:gd name="connsiteY8" fmla="*/ 1877957 h 5796644"/>
              <a:gd name="connsiteX9" fmla="*/ 540060 w 11736000"/>
              <a:gd name="connsiteY9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1877957 h 5796644"/>
              <a:gd name="connsiteX7" fmla="*/ 540060 w 11736000"/>
              <a:gd name="connsiteY7" fmla="*/ 1877957 h 5796644"/>
              <a:gd name="connsiteX8" fmla="*/ 540060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540060" y="0"/>
                </a:moveTo>
                <a:lnTo>
                  <a:pt x="11736000" y="0"/>
                </a:lnTo>
                <a:lnTo>
                  <a:pt x="11736000" y="4608512"/>
                </a:lnTo>
                <a:lnTo>
                  <a:pt x="9073008" y="4608512"/>
                </a:lnTo>
                <a:lnTo>
                  <a:pt x="9072000" y="5796644"/>
                </a:lnTo>
                <a:lnTo>
                  <a:pt x="0" y="5796644"/>
                </a:lnTo>
                <a:lnTo>
                  <a:pt x="0" y="1877957"/>
                </a:lnTo>
                <a:lnTo>
                  <a:pt x="540060" y="1877957"/>
                </a:lnTo>
                <a:lnTo>
                  <a:pt x="540060" y="0"/>
                </a:lnTo>
                <a:close/>
              </a:path>
            </a:pathLst>
          </a:custGeom>
          <a:solidFill>
            <a:srgbClr val="F3DF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1736812"/>
            <a:ext cx="9540000" cy="470898"/>
          </a:xfrm>
        </p:spPr>
        <p:txBody>
          <a:bodyPr vert="horz" anchor="t"/>
          <a:lstStyle>
            <a:lvl1pPr>
              <a:defRPr sz="3400"/>
            </a:lvl1pPr>
          </a:lstStyle>
          <a:p>
            <a:r>
              <a:rPr lang="en-US" noProof="0" dirty="0"/>
              <a:t>Click to edit chapter subpoint</a:t>
            </a:r>
          </a:p>
        </p:txBody>
      </p:sp>
    </p:spTree>
    <p:extLst>
      <p:ext uri="{BB962C8B-B14F-4D97-AF65-F5344CB8AC3E}">
        <p14:creationId xmlns:p14="http://schemas.microsoft.com/office/powerpoint/2010/main" val="257974631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11736000" cy="4356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116894037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04012" y="1664804"/>
            <a:ext cx="576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235090852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378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1664804"/>
            <a:ext cx="3744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84232" y="1664804"/>
            <a:ext cx="378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17974248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525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3941FEE-12D0-4301-BC5C-B2AD93E102BB}"/>
              </a:ext>
            </a:extLst>
          </p:cNvPr>
          <p:cNvSpPr/>
          <p:nvPr/>
        </p:nvSpPr>
        <p:spPr bwMode="gray">
          <a:xfrm>
            <a:off x="227348" y="1448780"/>
            <a:ext cx="11736000" cy="4572000"/>
          </a:xfrm>
          <a:prstGeom prst="rect">
            <a:avLst/>
          </a:prstGeom>
          <a:solidFill>
            <a:srgbClr val="F3DF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 lIns="216000" rIns="108000" bIns="21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6000" y="1448780"/>
            <a:ext cx="5868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18230602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 lIns="0" rIns="10800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6000" y="1448780"/>
            <a:ext cx="5868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10343509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7" y="1664804"/>
            <a:ext cx="3780000" cy="4356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050283F-AA6E-467A-B7F1-94C34E5D4D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1664804"/>
            <a:ext cx="3744000" cy="4356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69051D0B-3FCC-4D48-8087-C71E10FA7B0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184232" y="1448780"/>
            <a:ext cx="3780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2661827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25">
          <p15:clr>
            <a:srgbClr val="FBAE40"/>
          </p15:clr>
        </p15:guide>
        <p15:guide id="2" pos="2661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3717032"/>
            <a:ext cx="3780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3717032"/>
            <a:ext cx="3744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84232" y="3717032"/>
            <a:ext cx="3780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4" name="Picture Placeholder 38">
            <a:extLst>
              <a:ext uri="{FF2B5EF4-FFF2-40B4-BE49-F238E27FC236}">
                <a16:creationId xmlns:a16="http://schemas.microsoft.com/office/drawing/2014/main" id="{653CE5C9-004D-47BC-8A1D-014977EE421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1448780"/>
            <a:ext cx="3780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7" name="Picture Placeholder 38">
            <a:extLst>
              <a:ext uri="{FF2B5EF4-FFF2-40B4-BE49-F238E27FC236}">
                <a16:creationId xmlns:a16="http://schemas.microsoft.com/office/drawing/2014/main" id="{05A742C7-80B2-486A-90F8-02A76FC5306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4223794" y="1448780"/>
            <a:ext cx="3744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8" name="Picture Placeholder 38">
            <a:extLst>
              <a:ext uri="{FF2B5EF4-FFF2-40B4-BE49-F238E27FC236}">
                <a16:creationId xmlns:a16="http://schemas.microsoft.com/office/drawing/2014/main" id="{A3414379-7E42-45F0-B47B-9D12E2F5D0B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8184232" y="1448780"/>
            <a:ext cx="3780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1322372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525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with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3F05F24-D816-4D5B-84FD-79986AC230E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4644516 h 5796644"/>
              <a:gd name="connsiteX10" fmla="*/ 0 w 11736000"/>
              <a:gd name="connsiteY10" fmla="*/ 2675674 h 5796644"/>
              <a:gd name="connsiteX11" fmla="*/ 432048 w 11736000"/>
              <a:gd name="connsiteY11" fmla="*/ 2675674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2675674 h 5796644"/>
              <a:gd name="connsiteX10" fmla="*/ 432048 w 11736000"/>
              <a:gd name="connsiteY10" fmla="*/ 2675674 h 5796644"/>
              <a:gd name="connsiteX11" fmla="*/ 432048 w 11736000"/>
              <a:gd name="connsiteY11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2675674 h 5796644"/>
              <a:gd name="connsiteX9" fmla="*/ 432048 w 11736000"/>
              <a:gd name="connsiteY9" fmla="*/ 2675674 h 5796644"/>
              <a:gd name="connsiteX10" fmla="*/ 432048 w 11736000"/>
              <a:gd name="connsiteY10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2675674 h 5796644"/>
              <a:gd name="connsiteX8" fmla="*/ 432048 w 11736000"/>
              <a:gd name="connsiteY8" fmla="*/ 2675674 h 5796644"/>
              <a:gd name="connsiteX9" fmla="*/ 432048 w 11736000"/>
              <a:gd name="connsiteY9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2675674 h 5796644"/>
              <a:gd name="connsiteX7" fmla="*/ 432048 w 11736000"/>
              <a:gd name="connsiteY7" fmla="*/ 2675674 h 5796644"/>
              <a:gd name="connsiteX8" fmla="*/ 432048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432048" y="0"/>
                </a:moveTo>
                <a:lnTo>
                  <a:pt x="11736000" y="0"/>
                </a:lnTo>
                <a:lnTo>
                  <a:pt x="11736000" y="4392488"/>
                </a:lnTo>
                <a:lnTo>
                  <a:pt x="10837204" y="4392488"/>
                </a:lnTo>
                <a:cubicBezTo>
                  <a:pt x="10836803" y="4860540"/>
                  <a:pt x="10836401" y="5328592"/>
                  <a:pt x="10836000" y="5796644"/>
                </a:cubicBezTo>
                <a:lnTo>
                  <a:pt x="0" y="5796644"/>
                </a:lnTo>
                <a:lnTo>
                  <a:pt x="0" y="2675674"/>
                </a:lnTo>
                <a:lnTo>
                  <a:pt x="432048" y="2675674"/>
                </a:lnTo>
                <a:lnTo>
                  <a:pt x="432048" y="0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576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2467925"/>
            <a:ext cx="9540000" cy="553998"/>
          </a:xfrm>
        </p:spPr>
        <p:txBody>
          <a:bodyPr vert="horz"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210577686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  <a:endParaRPr lang="en-US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204124029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: Shape 19">
            <a:extLst>
              <a:ext uri="{FF2B5EF4-FFF2-40B4-BE49-F238E27FC236}">
                <a16:creationId xmlns:a16="http://schemas.microsoft.com/office/drawing/2014/main" id="{BF27BF86-1C59-440E-894C-FA93E0BDB21C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E3BEB8"/>
              </a:gs>
              <a:gs pos="100000">
                <a:srgbClr val="F7DDDA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82BFA7C-8CC0-46BD-86F3-9518A7539D6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2925312" y="697362"/>
            <a:ext cx="6372000" cy="447635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8DF27F43-6147-4006-B141-A88A3644CE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7EE0C09F-1761-489F-A154-87B8F84EF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8" name="Text Placeholder 20">
            <a:extLst>
              <a:ext uri="{FF2B5EF4-FFF2-40B4-BE49-F238E27FC236}">
                <a16:creationId xmlns:a16="http://schemas.microsoft.com/office/drawing/2014/main" id="{BB2C3296-6748-4658-9068-DDA715E120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-24680" y="-36004"/>
            <a:ext cx="0" cy="0"/>
          </a:xfrm>
          <a:noFill/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845FD22-7A3A-4557-8B9A-AC8987A3EA3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114843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7">
            <a:extLst>
              <a:ext uri="{FF2B5EF4-FFF2-40B4-BE49-F238E27FC236}">
                <a16:creationId xmlns:a16="http://schemas.microsoft.com/office/drawing/2014/main" id="{F1063ACD-2381-41A8-B20A-F2527A5C8863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E3BEB8"/>
              </a:gs>
              <a:gs pos="100000">
                <a:srgbClr val="F7DDDA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E62F1C35-8EB3-43FB-AC86-0F8629A0962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312024" y="224644"/>
            <a:ext cx="5651324" cy="6408000"/>
          </a:xfrm>
          <a:custGeom>
            <a:avLst/>
            <a:gdLst>
              <a:gd name="connsiteX0" fmla="*/ 0 w 5651324"/>
              <a:gd name="connsiteY0" fmla="*/ 0 h 6408000"/>
              <a:gd name="connsiteX1" fmla="*/ 5651324 w 5651324"/>
              <a:gd name="connsiteY1" fmla="*/ 0 h 6408000"/>
              <a:gd name="connsiteX2" fmla="*/ 5651324 w 5651324"/>
              <a:gd name="connsiteY2" fmla="*/ 5341097 h 6408000"/>
              <a:gd name="connsiteX3" fmla="*/ 2341176 w 5651324"/>
              <a:gd name="connsiteY3" fmla="*/ 5341097 h 6408000"/>
              <a:gd name="connsiteX4" fmla="*/ 2341176 w 5651324"/>
              <a:gd name="connsiteY4" fmla="*/ 5436604 h 6408000"/>
              <a:gd name="connsiteX5" fmla="*/ 2340260 w 5651324"/>
              <a:gd name="connsiteY5" fmla="*/ 5436604 h 6408000"/>
              <a:gd name="connsiteX6" fmla="*/ 2340260 w 5651324"/>
              <a:gd name="connsiteY6" fmla="*/ 6408000 h 6408000"/>
              <a:gd name="connsiteX7" fmla="*/ 0 w 5651324"/>
              <a:gd name="connsiteY7" fmla="*/ 6408000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51324" h="6408000">
                <a:moveTo>
                  <a:pt x="0" y="0"/>
                </a:moveTo>
                <a:lnTo>
                  <a:pt x="5651324" y="0"/>
                </a:lnTo>
                <a:lnTo>
                  <a:pt x="5651324" y="5341097"/>
                </a:lnTo>
                <a:lnTo>
                  <a:pt x="2341176" y="5341097"/>
                </a:lnTo>
                <a:lnTo>
                  <a:pt x="2341176" y="5436604"/>
                </a:lnTo>
                <a:lnTo>
                  <a:pt x="2340260" y="5436604"/>
                </a:lnTo>
                <a:lnTo>
                  <a:pt x="2340260" y="6408000"/>
                </a:lnTo>
                <a:lnTo>
                  <a:pt x="0" y="640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387659"/>
            <a:ext cx="5040000" cy="1177245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504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DFB5CDCA-C1F6-46D5-8114-EDF8C9050D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356CA35-6D04-4E0E-BA9F-B48057E1C379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110214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7">
            <a:extLst>
              <a:ext uri="{FF2B5EF4-FFF2-40B4-BE49-F238E27FC236}">
                <a16:creationId xmlns:a16="http://schemas.microsoft.com/office/drawing/2014/main" id="{873C5E77-B7AF-421D-BCE3-ABE852EEC1C5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E3BEB8"/>
              </a:gs>
              <a:gs pos="100000">
                <a:srgbClr val="F7DDDA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0034B150-7B5F-4F89-994B-8E2AF18CED6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312024" y="224644"/>
            <a:ext cx="5651324" cy="6408000"/>
          </a:xfrm>
          <a:custGeom>
            <a:avLst/>
            <a:gdLst>
              <a:gd name="connsiteX0" fmla="*/ 0 w 5651324"/>
              <a:gd name="connsiteY0" fmla="*/ 0 h 6408000"/>
              <a:gd name="connsiteX1" fmla="*/ 5651324 w 5651324"/>
              <a:gd name="connsiteY1" fmla="*/ 0 h 6408000"/>
              <a:gd name="connsiteX2" fmla="*/ 5651324 w 5651324"/>
              <a:gd name="connsiteY2" fmla="*/ 5341097 h 6408000"/>
              <a:gd name="connsiteX3" fmla="*/ 2341176 w 5651324"/>
              <a:gd name="connsiteY3" fmla="*/ 5341097 h 6408000"/>
              <a:gd name="connsiteX4" fmla="*/ 2341176 w 5651324"/>
              <a:gd name="connsiteY4" fmla="*/ 5436604 h 6408000"/>
              <a:gd name="connsiteX5" fmla="*/ 2340260 w 5651324"/>
              <a:gd name="connsiteY5" fmla="*/ 5436604 h 6408000"/>
              <a:gd name="connsiteX6" fmla="*/ 2340260 w 5651324"/>
              <a:gd name="connsiteY6" fmla="*/ 6408000 h 6408000"/>
              <a:gd name="connsiteX7" fmla="*/ 0 w 5651324"/>
              <a:gd name="connsiteY7" fmla="*/ 6408000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51324" h="6408000">
                <a:moveTo>
                  <a:pt x="0" y="0"/>
                </a:moveTo>
                <a:lnTo>
                  <a:pt x="5651324" y="0"/>
                </a:lnTo>
                <a:lnTo>
                  <a:pt x="5651324" y="5341097"/>
                </a:lnTo>
                <a:lnTo>
                  <a:pt x="2341176" y="5341097"/>
                </a:lnTo>
                <a:lnTo>
                  <a:pt x="2341176" y="5436604"/>
                </a:lnTo>
                <a:lnTo>
                  <a:pt x="2340260" y="5436604"/>
                </a:lnTo>
                <a:lnTo>
                  <a:pt x="2340260" y="6408000"/>
                </a:lnTo>
                <a:lnTo>
                  <a:pt x="0" y="640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387659"/>
            <a:ext cx="5040000" cy="1177245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504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DFB5CDCA-C1F6-46D5-8114-EDF8C9050D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3D55BDC-6C00-402B-90AA-F22696F3A647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013768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BCCB24D1-1930-4692-BCB4-2D015F3F3B1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To insert a light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88F0433-0C1E-45C4-91D5-A71D1E7489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034D38C5-1AE2-48F2-B904-368AF1BB919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021740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14F18E71-29D3-41B6-BF4E-FC779991DD8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dark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88F0433-0C1E-45C4-91D5-A71D1E7489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34DC0D83-60BD-41F0-9FDA-B863EB5234F4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276385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bespo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1EA27167-586B-4CD5-9939-5080A6B10AA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Title bespoke: add your own image with integrated key visual sails (see sample slides)</a:t>
            </a:r>
            <a:br>
              <a:rPr lang="en-US" noProof="0" dirty="0"/>
            </a:br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8358B27E-FB3F-41D5-92D8-EE8674AEF61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-24680" y="-36004"/>
            <a:ext cx="0" cy="0"/>
          </a:xfrm>
          <a:noFill/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426D35AF-E7A7-466A-A68A-C4638C2440D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180542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521616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520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55DD2651-0151-430C-B119-007B62690C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592796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1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09DC8B0-57A1-4F3A-BDDA-77B9AF0DE0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59396" y="1757427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7E436937-FEE7-4E3B-B2ED-EA8C59C28E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59396" y="2024844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16921189-9456-4725-8796-9A63F4FF2A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27348" y="2960948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2</a:t>
            </a:r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AE279508-3E84-4EBE-BA6B-3B720AECFA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59396" y="3125579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878AB44-EE12-455A-BBB0-B5C1D69C3B0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59396" y="3392996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96B76ADA-0F82-4009-B48F-06F5BE94347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27348" y="4329100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3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D769DA76-2E5E-4579-8580-F35E830E20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59396" y="4493731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EE63D31-8274-422B-BB5C-1322C346FFA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59396" y="4761148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2BA01F8F-457E-4EBD-A72E-F504F5EC57E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204012" y="1592796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4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EAF15CFC-3F46-4D43-B341-F497C9D37ED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636060" y="1757427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0E2EA731-5BB9-4EC1-8EB5-184ACE70DF1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636060" y="2024844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84BB2A9C-8535-467B-AC6B-C1B058B392B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204012" y="2960948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5</a:t>
            </a: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2DC572E8-1F82-4B53-AF7F-384B189AF8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636060" y="3125579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C054D566-3D6B-4B30-AF80-C1C61C87FC6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636060" y="3392996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594A9388-93DB-4C06-8ECA-D5F6FADED7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204012" y="4329100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6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D42822C5-6A82-408A-A140-9FDE7F4F3D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636060" y="4493731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90CB119A-0EC1-49E6-B7C7-90227128C7C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636060" y="4761148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</p:spTree>
    <p:extLst>
      <p:ext uri="{BB962C8B-B14F-4D97-AF65-F5344CB8AC3E}">
        <p14:creationId xmlns:p14="http://schemas.microsoft.com/office/powerpoint/2010/main" val="134308609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1A0FEDA4-5EFC-4CDF-A9C9-15CF8F34C7B4}"/>
              </a:ext>
            </a:extLst>
          </p:cNvPr>
          <p:cNvSpPr/>
          <p:nvPr/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4644516 h 5796644"/>
              <a:gd name="connsiteX10" fmla="*/ 0 w 11736000"/>
              <a:gd name="connsiteY10" fmla="*/ 2675674 h 5796644"/>
              <a:gd name="connsiteX11" fmla="*/ 432048 w 11736000"/>
              <a:gd name="connsiteY11" fmla="*/ 2675674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5688632 h 5796644"/>
              <a:gd name="connsiteX8" fmla="*/ 0 w 11736000"/>
              <a:gd name="connsiteY8" fmla="*/ 4644516 h 5796644"/>
              <a:gd name="connsiteX9" fmla="*/ 0 w 11736000"/>
              <a:gd name="connsiteY9" fmla="*/ 2675674 h 5796644"/>
              <a:gd name="connsiteX10" fmla="*/ 432048 w 11736000"/>
              <a:gd name="connsiteY10" fmla="*/ 2675674 h 5796644"/>
              <a:gd name="connsiteX11" fmla="*/ 432048 w 11736000"/>
              <a:gd name="connsiteY11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688632 h 5796644"/>
              <a:gd name="connsiteX7" fmla="*/ 0 w 11736000"/>
              <a:gd name="connsiteY7" fmla="*/ 4644516 h 5796644"/>
              <a:gd name="connsiteX8" fmla="*/ 0 w 11736000"/>
              <a:gd name="connsiteY8" fmla="*/ 2675674 h 5796644"/>
              <a:gd name="connsiteX9" fmla="*/ 432048 w 11736000"/>
              <a:gd name="connsiteY9" fmla="*/ 2675674 h 5796644"/>
              <a:gd name="connsiteX10" fmla="*/ 432048 w 11736000"/>
              <a:gd name="connsiteY10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4644516 h 5796644"/>
              <a:gd name="connsiteX7" fmla="*/ 0 w 11736000"/>
              <a:gd name="connsiteY7" fmla="*/ 2675674 h 5796644"/>
              <a:gd name="connsiteX8" fmla="*/ 432048 w 11736000"/>
              <a:gd name="connsiteY8" fmla="*/ 2675674 h 5796644"/>
              <a:gd name="connsiteX9" fmla="*/ 432048 w 11736000"/>
              <a:gd name="connsiteY9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2675674 h 5796644"/>
              <a:gd name="connsiteX7" fmla="*/ 432048 w 11736000"/>
              <a:gd name="connsiteY7" fmla="*/ 2675674 h 5796644"/>
              <a:gd name="connsiteX8" fmla="*/ 432048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432048" y="0"/>
                </a:moveTo>
                <a:lnTo>
                  <a:pt x="11736000" y="0"/>
                </a:lnTo>
                <a:lnTo>
                  <a:pt x="11736000" y="4392488"/>
                </a:lnTo>
                <a:lnTo>
                  <a:pt x="10837204" y="4392488"/>
                </a:lnTo>
                <a:cubicBezTo>
                  <a:pt x="10836803" y="4860540"/>
                  <a:pt x="10836401" y="5328592"/>
                  <a:pt x="10836000" y="5796644"/>
                </a:cubicBezTo>
                <a:lnTo>
                  <a:pt x="0" y="5796644"/>
                </a:lnTo>
                <a:lnTo>
                  <a:pt x="0" y="2675674"/>
                </a:lnTo>
                <a:lnTo>
                  <a:pt x="432048" y="2675674"/>
                </a:lnTo>
                <a:lnTo>
                  <a:pt x="432048" y="0"/>
                </a:lnTo>
                <a:close/>
              </a:path>
            </a:pathLst>
          </a:custGeom>
          <a:solidFill>
            <a:srgbClr val="E3BE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2467925"/>
            <a:ext cx="9540000" cy="553998"/>
          </a:xfrm>
        </p:spPr>
        <p:txBody>
          <a:bodyPr vert="horz" anchor="t"/>
          <a:lstStyle>
            <a:lvl1pPr>
              <a:defRPr sz="4000"/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119593938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with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3F05F24-D816-4D5B-84FD-79986AC230E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4644516 h 5796644"/>
              <a:gd name="connsiteX10" fmla="*/ 0 w 11736000"/>
              <a:gd name="connsiteY10" fmla="*/ 2675674 h 5796644"/>
              <a:gd name="connsiteX11" fmla="*/ 432048 w 11736000"/>
              <a:gd name="connsiteY11" fmla="*/ 2675674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2675674 h 5796644"/>
              <a:gd name="connsiteX10" fmla="*/ 432048 w 11736000"/>
              <a:gd name="connsiteY10" fmla="*/ 2675674 h 5796644"/>
              <a:gd name="connsiteX11" fmla="*/ 432048 w 11736000"/>
              <a:gd name="connsiteY11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2675674 h 5796644"/>
              <a:gd name="connsiteX9" fmla="*/ 432048 w 11736000"/>
              <a:gd name="connsiteY9" fmla="*/ 2675674 h 5796644"/>
              <a:gd name="connsiteX10" fmla="*/ 432048 w 11736000"/>
              <a:gd name="connsiteY10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2675674 h 5796644"/>
              <a:gd name="connsiteX8" fmla="*/ 432048 w 11736000"/>
              <a:gd name="connsiteY8" fmla="*/ 2675674 h 5796644"/>
              <a:gd name="connsiteX9" fmla="*/ 432048 w 11736000"/>
              <a:gd name="connsiteY9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2675674 h 5796644"/>
              <a:gd name="connsiteX7" fmla="*/ 432048 w 11736000"/>
              <a:gd name="connsiteY7" fmla="*/ 2675674 h 5796644"/>
              <a:gd name="connsiteX8" fmla="*/ 432048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432048" y="0"/>
                </a:moveTo>
                <a:lnTo>
                  <a:pt x="11736000" y="0"/>
                </a:lnTo>
                <a:lnTo>
                  <a:pt x="11736000" y="4392488"/>
                </a:lnTo>
                <a:lnTo>
                  <a:pt x="10837204" y="4392488"/>
                </a:lnTo>
                <a:cubicBezTo>
                  <a:pt x="10836803" y="4860540"/>
                  <a:pt x="10836401" y="5328592"/>
                  <a:pt x="10836000" y="5796644"/>
                </a:cubicBezTo>
                <a:lnTo>
                  <a:pt x="0" y="5796644"/>
                </a:lnTo>
                <a:lnTo>
                  <a:pt x="0" y="2675674"/>
                </a:lnTo>
                <a:lnTo>
                  <a:pt x="432048" y="2675674"/>
                </a:lnTo>
                <a:lnTo>
                  <a:pt x="432048" y="0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576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2467925"/>
            <a:ext cx="9540000" cy="553998"/>
          </a:xfrm>
        </p:spPr>
        <p:txBody>
          <a:bodyPr vert="horz"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7995417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1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vmlDrawing" Target="../drawings/vmlDrawing2.v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8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9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vmlDrawing" Target="../drawings/vmlDrawing3.v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46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3" Type="http://schemas.openxmlformats.org/officeDocument/2006/relationships/slideLayout" Target="../slideLayouts/slideLayout57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0" Type="http://schemas.openxmlformats.org/officeDocument/2006/relationships/vmlDrawing" Target="../drawings/vmlDrawing4.v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64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oleObject" Target="../embeddings/oleObject4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3" Type="http://schemas.openxmlformats.org/officeDocument/2006/relationships/slideLayout" Target="../slideLayouts/slideLayout75.xml"/><Relationship Id="rId21" Type="http://schemas.openxmlformats.org/officeDocument/2006/relationships/tags" Target="../tags/tag5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vmlDrawing" Target="../drawings/vmlDrawing5.v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82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oleObject" Target="../embeddings/oleObject5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.xml"/><Relationship Id="rId13" Type="http://schemas.openxmlformats.org/officeDocument/2006/relationships/slideLayout" Target="../slideLayouts/slideLayout103.xml"/><Relationship Id="rId18" Type="http://schemas.openxmlformats.org/officeDocument/2006/relationships/slideLayout" Target="../slideLayouts/slideLayout108.xml"/><Relationship Id="rId3" Type="http://schemas.openxmlformats.org/officeDocument/2006/relationships/slideLayout" Target="../slideLayouts/slideLayout93.xml"/><Relationship Id="rId21" Type="http://schemas.openxmlformats.org/officeDocument/2006/relationships/tags" Target="../tags/tag6.xml"/><Relationship Id="rId7" Type="http://schemas.openxmlformats.org/officeDocument/2006/relationships/slideLayout" Target="../slideLayouts/slideLayout97.xml"/><Relationship Id="rId12" Type="http://schemas.openxmlformats.org/officeDocument/2006/relationships/slideLayout" Target="../slideLayouts/slideLayout102.xml"/><Relationship Id="rId17" Type="http://schemas.openxmlformats.org/officeDocument/2006/relationships/slideLayout" Target="../slideLayouts/slideLayout107.xml"/><Relationship Id="rId2" Type="http://schemas.openxmlformats.org/officeDocument/2006/relationships/slideLayout" Target="../slideLayouts/slideLayout92.xml"/><Relationship Id="rId16" Type="http://schemas.openxmlformats.org/officeDocument/2006/relationships/slideLayout" Target="../slideLayouts/slideLayout106.xml"/><Relationship Id="rId20" Type="http://schemas.openxmlformats.org/officeDocument/2006/relationships/vmlDrawing" Target="../drawings/vmlDrawing6.v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95.xml"/><Relationship Id="rId15" Type="http://schemas.openxmlformats.org/officeDocument/2006/relationships/slideLayout" Target="../slideLayouts/slideLayout10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0.xml"/><Relationship Id="rId19" Type="http://schemas.openxmlformats.org/officeDocument/2006/relationships/theme" Target="../theme/theme6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Relationship Id="rId14" Type="http://schemas.openxmlformats.org/officeDocument/2006/relationships/slideLayout" Target="../slideLayouts/slideLayout104.xml"/><Relationship Id="rId22" Type="http://schemas.openxmlformats.org/officeDocument/2006/relationships/oleObject" Target="../embeddings/oleObject6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D69A049-E19B-40FA-9F9E-599AB53A187D}"/>
              </a:ext>
            </a:extLst>
          </p:cNvPr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723346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22" imgW="306" imgH="306" progId="TCLayout.ActiveDocument.1">
                  <p:embed/>
                </p:oleObj>
              </mc:Choice>
              <mc:Fallback>
                <p:oleObj name="think-cell Slide" r:id="rId22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D69A049-E19B-40FA-9F9E-599AB53A1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6682D91-E061-4689-9159-EED42F3535B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27807" y="185794"/>
            <a:ext cx="11736000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D2BA07-55DE-494C-BC34-D63014961B90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227807" y="1664804"/>
            <a:ext cx="11736000" cy="435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955932-4995-496E-9647-52F2A55AEC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59855" y="6448690"/>
            <a:ext cx="9000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r>
              <a:rPr lang="en-US"/>
              <a:t>Legal Entity, department or author | Month Day, Year (Click Insert | Header &amp; Footer)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780A13-4AA2-43B5-8240-BE26947D65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227347" y="6448690"/>
            <a:ext cx="360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5E1436D9-F116-4999-A3D1-5B0370FA0AE3}"/>
              </a:ext>
            </a:extLst>
          </p:cNvPr>
          <p:cNvSpPr>
            <a:spLocks noChangeAspect="1"/>
          </p:cNvSpPr>
          <p:nvPr userDrawn="1"/>
        </p:nvSpPr>
        <p:spPr>
          <a:xfrm>
            <a:off x="10232207" y="6371809"/>
            <a:ext cx="1731600" cy="23183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30060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9" r:id="rId1"/>
    <p:sldLayoutId id="2147483890" r:id="rId2"/>
    <p:sldLayoutId id="2147483891" r:id="rId3"/>
    <p:sldLayoutId id="2147483892" r:id="rId4"/>
    <p:sldLayoutId id="2147483893" r:id="rId5"/>
    <p:sldLayoutId id="2147483894" r:id="rId6"/>
    <p:sldLayoutId id="2147483896" r:id="rId7"/>
    <p:sldLayoutId id="2147483897" r:id="rId8"/>
    <p:sldLayoutId id="2147483898" r:id="rId9"/>
    <p:sldLayoutId id="2147483899" r:id="rId10"/>
    <p:sldLayoutId id="2147483900" r:id="rId11"/>
    <p:sldLayoutId id="2147483901" r:id="rId12"/>
    <p:sldLayoutId id="2147483902" r:id="rId13"/>
    <p:sldLayoutId id="2147483903" r:id="rId14"/>
    <p:sldLayoutId id="2147483904" r:id="rId15"/>
    <p:sldLayoutId id="2147483905" r:id="rId16"/>
    <p:sldLayoutId id="2147483906" r:id="rId17"/>
    <p:sldLayoutId id="2147483907" r:id="rId1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400"/>
        </a:spcBef>
        <a:buFont typeface="Credit Suisse Type Roman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500"/>
        </a:spcBef>
        <a:buFont typeface="Credit Suisse Type Roman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49">
          <p15:clr>
            <a:srgbClr val="F26B43"/>
          </p15:clr>
        </p15:guide>
        <p15:guide id="2" orient="horz" pos="3793">
          <p15:clr>
            <a:srgbClr val="F26B43"/>
          </p15:clr>
        </p15:guide>
        <p15:guide id="3" pos="143">
          <p15:clr>
            <a:srgbClr val="F26B43"/>
          </p15:clr>
        </p15:guide>
        <p15:guide id="4" pos="7537">
          <p15:clr>
            <a:srgbClr val="F26B43"/>
          </p15:clr>
        </p15:guide>
        <p15:guide id="5" pos="3908">
          <p15:clr>
            <a:srgbClr val="F26B43"/>
          </p15:clr>
        </p15:guide>
        <p15:guide id="6" pos="377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D69A049-E19B-40FA-9F9E-599AB53A187D}"/>
              </a:ext>
            </a:extLst>
          </p:cNvPr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723346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22" imgW="306" imgH="306" progId="TCLayout.ActiveDocument.1">
                  <p:embed/>
                </p:oleObj>
              </mc:Choice>
              <mc:Fallback>
                <p:oleObj name="think-cell Slide" r:id="rId22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D69A049-E19B-40FA-9F9E-599AB53A1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6682D91-E061-4689-9159-EED42F3535B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27807" y="185794"/>
            <a:ext cx="11736000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D2BA07-55DE-494C-BC34-D63014961B90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227807" y="1664804"/>
            <a:ext cx="11736000" cy="435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955932-4995-496E-9647-52F2A55AEC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59855" y="6448690"/>
            <a:ext cx="9000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r>
              <a:rPr lang="en-US"/>
              <a:t>Legal Entity, department or author | Month Day, Year (Click Insert | Header &amp; Footer)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780A13-4AA2-43B5-8240-BE26947D65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227347" y="6448690"/>
            <a:ext cx="360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09336D1-6240-46E7-B41F-177ADDB84C15}"/>
              </a:ext>
            </a:extLst>
          </p:cNvPr>
          <p:cNvSpPr>
            <a:spLocks noChangeAspect="1"/>
          </p:cNvSpPr>
          <p:nvPr userDrawn="1"/>
        </p:nvSpPr>
        <p:spPr>
          <a:xfrm>
            <a:off x="10232207" y="6371809"/>
            <a:ext cx="1731600" cy="23183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0085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09" r:id="rId2"/>
    <p:sldLayoutId id="2147483910" r:id="rId3"/>
    <p:sldLayoutId id="2147483911" r:id="rId4"/>
    <p:sldLayoutId id="2147483912" r:id="rId5"/>
    <p:sldLayoutId id="2147483913" r:id="rId6"/>
    <p:sldLayoutId id="2147483914" r:id="rId7"/>
    <p:sldLayoutId id="2147483915" r:id="rId8"/>
    <p:sldLayoutId id="2147483916" r:id="rId9"/>
    <p:sldLayoutId id="2147483917" r:id="rId10"/>
    <p:sldLayoutId id="2147483918" r:id="rId11"/>
    <p:sldLayoutId id="2147483919" r:id="rId12"/>
    <p:sldLayoutId id="2147483920" r:id="rId13"/>
    <p:sldLayoutId id="2147483921" r:id="rId14"/>
    <p:sldLayoutId id="2147483922" r:id="rId15"/>
    <p:sldLayoutId id="2147483923" r:id="rId16"/>
    <p:sldLayoutId id="2147483924" r:id="rId17"/>
    <p:sldLayoutId id="2147483925" r:id="rId1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400"/>
        </a:spcBef>
        <a:buFont typeface="Credit Suisse Type Roman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500"/>
        </a:spcBef>
        <a:buFont typeface="Credit Suisse Type Roman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49">
          <p15:clr>
            <a:srgbClr val="F26B43"/>
          </p15:clr>
        </p15:guide>
        <p15:guide id="2" orient="horz" pos="3793">
          <p15:clr>
            <a:srgbClr val="F26B43"/>
          </p15:clr>
        </p15:guide>
        <p15:guide id="3" pos="143">
          <p15:clr>
            <a:srgbClr val="F26B43"/>
          </p15:clr>
        </p15:guide>
        <p15:guide id="4" pos="7537">
          <p15:clr>
            <a:srgbClr val="F26B43"/>
          </p15:clr>
        </p15:guide>
        <p15:guide id="5" pos="3908">
          <p15:clr>
            <a:srgbClr val="F26B43"/>
          </p15:clr>
        </p15:guide>
        <p15:guide id="6" pos="377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D69A049-E19B-40FA-9F9E-599AB53A187D}"/>
              </a:ext>
            </a:extLst>
          </p:cNvPr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723346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22" imgW="306" imgH="306" progId="TCLayout.ActiveDocument.1">
                  <p:embed/>
                </p:oleObj>
              </mc:Choice>
              <mc:Fallback>
                <p:oleObj name="think-cell Slide" r:id="rId22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D69A049-E19B-40FA-9F9E-599AB53A1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6682D91-E061-4689-9159-EED42F3535B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27807" y="185794"/>
            <a:ext cx="11736000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D2BA07-55DE-494C-BC34-D63014961B90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227807" y="1664804"/>
            <a:ext cx="11736000" cy="435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955932-4995-496E-9647-52F2A55AEC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59855" y="6448690"/>
            <a:ext cx="9000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r>
              <a:rPr lang="en-US"/>
              <a:t>Legal Entity, department or author | Month Day, Year (Click Insert | Header &amp; Footer)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780A13-4AA2-43B5-8240-BE26947D65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227347" y="6448690"/>
            <a:ext cx="360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AD74332-785E-49F7-98CE-7FADBC26F898}"/>
              </a:ext>
            </a:extLst>
          </p:cNvPr>
          <p:cNvSpPr>
            <a:spLocks noChangeAspect="1"/>
          </p:cNvSpPr>
          <p:nvPr userDrawn="1"/>
        </p:nvSpPr>
        <p:spPr>
          <a:xfrm>
            <a:off x="10232207" y="6371809"/>
            <a:ext cx="1731600" cy="23183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29599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928" r:id="rId3"/>
    <p:sldLayoutId id="2147483929" r:id="rId4"/>
    <p:sldLayoutId id="2147483930" r:id="rId5"/>
    <p:sldLayoutId id="2147483931" r:id="rId6"/>
    <p:sldLayoutId id="2147483932" r:id="rId7"/>
    <p:sldLayoutId id="2147483933" r:id="rId8"/>
    <p:sldLayoutId id="2147483934" r:id="rId9"/>
    <p:sldLayoutId id="2147483935" r:id="rId10"/>
    <p:sldLayoutId id="2147483936" r:id="rId11"/>
    <p:sldLayoutId id="2147483937" r:id="rId12"/>
    <p:sldLayoutId id="2147483938" r:id="rId13"/>
    <p:sldLayoutId id="2147483939" r:id="rId14"/>
    <p:sldLayoutId id="2147483940" r:id="rId15"/>
    <p:sldLayoutId id="2147483941" r:id="rId16"/>
    <p:sldLayoutId id="2147483942" r:id="rId17"/>
    <p:sldLayoutId id="2147483943" r:id="rId1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400"/>
        </a:spcBef>
        <a:buFont typeface="Credit Suisse Type Roman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500"/>
        </a:spcBef>
        <a:buFont typeface="Credit Suisse Type Roman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49">
          <p15:clr>
            <a:srgbClr val="F26B43"/>
          </p15:clr>
        </p15:guide>
        <p15:guide id="2" orient="horz" pos="3793">
          <p15:clr>
            <a:srgbClr val="F26B43"/>
          </p15:clr>
        </p15:guide>
        <p15:guide id="3" pos="143">
          <p15:clr>
            <a:srgbClr val="F26B43"/>
          </p15:clr>
        </p15:guide>
        <p15:guide id="4" pos="7537">
          <p15:clr>
            <a:srgbClr val="F26B43"/>
          </p15:clr>
        </p15:guide>
        <p15:guide id="5" pos="3908">
          <p15:clr>
            <a:srgbClr val="F26B43"/>
          </p15:clr>
        </p15:guide>
        <p15:guide id="6" pos="377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D69A049-E19B-40FA-9F9E-599AB53A187D}"/>
              </a:ext>
            </a:extLst>
          </p:cNvPr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723346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22" imgW="306" imgH="306" progId="TCLayout.ActiveDocument.1">
                  <p:embed/>
                </p:oleObj>
              </mc:Choice>
              <mc:Fallback>
                <p:oleObj name="think-cell Slide" r:id="rId22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D69A049-E19B-40FA-9F9E-599AB53A1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6682D91-E061-4689-9159-EED42F3535B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27807" y="185794"/>
            <a:ext cx="11736000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D2BA07-55DE-494C-BC34-D63014961B90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227807" y="1664804"/>
            <a:ext cx="11736000" cy="435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955932-4995-496E-9647-52F2A55AEC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59855" y="6448690"/>
            <a:ext cx="9000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r>
              <a:rPr lang="en-US"/>
              <a:t>Legal Entity, department or author | Month Day, Year (Click Insert | Header &amp; Footer)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780A13-4AA2-43B5-8240-BE26947D65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227347" y="6448690"/>
            <a:ext cx="360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6465DAC8-9454-48BD-BD01-EB5E830D39E7}"/>
              </a:ext>
            </a:extLst>
          </p:cNvPr>
          <p:cNvSpPr>
            <a:spLocks noChangeAspect="1"/>
          </p:cNvSpPr>
          <p:nvPr userDrawn="1"/>
        </p:nvSpPr>
        <p:spPr>
          <a:xfrm>
            <a:off x="10232207" y="6371809"/>
            <a:ext cx="1731600" cy="23183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73843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4" r:id="rId1"/>
    <p:sldLayoutId id="2147483945" r:id="rId2"/>
    <p:sldLayoutId id="2147483946" r:id="rId3"/>
    <p:sldLayoutId id="2147483947" r:id="rId4"/>
    <p:sldLayoutId id="2147483948" r:id="rId5"/>
    <p:sldLayoutId id="2147483949" r:id="rId6"/>
    <p:sldLayoutId id="2147483950" r:id="rId7"/>
    <p:sldLayoutId id="2147483951" r:id="rId8"/>
    <p:sldLayoutId id="2147483952" r:id="rId9"/>
    <p:sldLayoutId id="2147483953" r:id="rId10"/>
    <p:sldLayoutId id="2147483954" r:id="rId11"/>
    <p:sldLayoutId id="2147483955" r:id="rId12"/>
    <p:sldLayoutId id="2147483956" r:id="rId13"/>
    <p:sldLayoutId id="2147483957" r:id="rId14"/>
    <p:sldLayoutId id="2147483958" r:id="rId15"/>
    <p:sldLayoutId id="2147483959" r:id="rId16"/>
    <p:sldLayoutId id="2147483960" r:id="rId17"/>
    <p:sldLayoutId id="2147483961" r:id="rId1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400"/>
        </a:spcBef>
        <a:buFont typeface="Credit Suisse Type Roman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500"/>
        </a:spcBef>
        <a:buFont typeface="Credit Suisse Type Roman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49">
          <p15:clr>
            <a:srgbClr val="F26B43"/>
          </p15:clr>
        </p15:guide>
        <p15:guide id="2" orient="horz" pos="3793">
          <p15:clr>
            <a:srgbClr val="F26B43"/>
          </p15:clr>
        </p15:guide>
        <p15:guide id="3" pos="143">
          <p15:clr>
            <a:srgbClr val="F26B43"/>
          </p15:clr>
        </p15:guide>
        <p15:guide id="4" pos="7537">
          <p15:clr>
            <a:srgbClr val="F26B43"/>
          </p15:clr>
        </p15:guide>
        <p15:guide id="5" pos="3908">
          <p15:clr>
            <a:srgbClr val="F26B43"/>
          </p15:clr>
        </p15:guide>
        <p15:guide id="6" pos="377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D69A049-E19B-40FA-9F9E-599AB53A187D}"/>
              </a:ext>
            </a:extLst>
          </p:cNvPr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723346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22" imgW="306" imgH="306" progId="TCLayout.ActiveDocument.1">
                  <p:embed/>
                </p:oleObj>
              </mc:Choice>
              <mc:Fallback>
                <p:oleObj name="think-cell Slide" r:id="rId22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D69A049-E19B-40FA-9F9E-599AB53A1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6682D91-E061-4689-9159-EED42F3535B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27807" y="185794"/>
            <a:ext cx="11736000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D2BA07-55DE-494C-BC34-D63014961B90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227807" y="1664804"/>
            <a:ext cx="11736000" cy="435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955932-4995-496E-9647-52F2A55AEC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59855" y="6448690"/>
            <a:ext cx="9000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r>
              <a:rPr lang="en-US"/>
              <a:t>Legal Entity, department or author | Month Day, Year (Click Insert | Header &amp; Footer)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780A13-4AA2-43B5-8240-BE26947D65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227347" y="6448690"/>
            <a:ext cx="360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AEF6379C-C1FC-42B1-ADE5-D6DAFF801AB3}"/>
              </a:ext>
            </a:extLst>
          </p:cNvPr>
          <p:cNvSpPr>
            <a:spLocks noChangeAspect="1"/>
          </p:cNvSpPr>
          <p:nvPr userDrawn="1"/>
        </p:nvSpPr>
        <p:spPr>
          <a:xfrm>
            <a:off x="10232207" y="6371809"/>
            <a:ext cx="1731600" cy="23183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8908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2" r:id="rId1"/>
    <p:sldLayoutId id="2147483963" r:id="rId2"/>
    <p:sldLayoutId id="2147483964" r:id="rId3"/>
    <p:sldLayoutId id="2147483965" r:id="rId4"/>
    <p:sldLayoutId id="2147483966" r:id="rId5"/>
    <p:sldLayoutId id="2147483967" r:id="rId6"/>
    <p:sldLayoutId id="2147483968" r:id="rId7"/>
    <p:sldLayoutId id="2147483969" r:id="rId8"/>
    <p:sldLayoutId id="2147483970" r:id="rId9"/>
    <p:sldLayoutId id="2147483971" r:id="rId10"/>
    <p:sldLayoutId id="2147483972" r:id="rId11"/>
    <p:sldLayoutId id="2147483973" r:id="rId12"/>
    <p:sldLayoutId id="2147483974" r:id="rId13"/>
    <p:sldLayoutId id="2147483975" r:id="rId14"/>
    <p:sldLayoutId id="2147483976" r:id="rId15"/>
    <p:sldLayoutId id="2147483977" r:id="rId16"/>
    <p:sldLayoutId id="2147483978" r:id="rId17"/>
    <p:sldLayoutId id="2147483979" r:id="rId1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400"/>
        </a:spcBef>
        <a:buFont typeface="Credit Suisse Type Roman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500"/>
        </a:spcBef>
        <a:buFont typeface="Credit Suisse Type Roman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49">
          <p15:clr>
            <a:srgbClr val="F26B43"/>
          </p15:clr>
        </p15:guide>
        <p15:guide id="2" orient="horz" pos="3793">
          <p15:clr>
            <a:srgbClr val="F26B43"/>
          </p15:clr>
        </p15:guide>
        <p15:guide id="3" pos="143">
          <p15:clr>
            <a:srgbClr val="F26B43"/>
          </p15:clr>
        </p15:guide>
        <p15:guide id="4" pos="7537">
          <p15:clr>
            <a:srgbClr val="F26B43"/>
          </p15:clr>
        </p15:guide>
        <p15:guide id="5" pos="3908">
          <p15:clr>
            <a:srgbClr val="F26B43"/>
          </p15:clr>
        </p15:guide>
        <p15:guide id="6" pos="377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D69A049-E19B-40FA-9F9E-599AB53A187D}"/>
              </a:ext>
            </a:extLst>
          </p:cNvPr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723346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Slide" r:id="rId22" imgW="306" imgH="306" progId="TCLayout.ActiveDocument.1">
                  <p:embed/>
                </p:oleObj>
              </mc:Choice>
              <mc:Fallback>
                <p:oleObj name="think-cell Slide" r:id="rId22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D69A049-E19B-40FA-9F9E-599AB53A1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6682D91-E061-4689-9159-EED42F3535B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27807" y="185794"/>
            <a:ext cx="11736000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D2BA07-55DE-494C-BC34-D63014961B90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227807" y="1664804"/>
            <a:ext cx="11736000" cy="435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955932-4995-496E-9647-52F2A55AEC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59855" y="6448690"/>
            <a:ext cx="9000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r>
              <a:rPr lang="en-US"/>
              <a:t>Legal Entity, department or author | Month Day, Year (Click Insert | Header &amp; Footer)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780A13-4AA2-43B5-8240-BE26947D65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227347" y="6448690"/>
            <a:ext cx="360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15171BEA-EABC-4CD6-89E3-DA4C43C5729A}"/>
              </a:ext>
            </a:extLst>
          </p:cNvPr>
          <p:cNvSpPr>
            <a:spLocks noChangeAspect="1"/>
          </p:cNvSpPr>
          <p:nvPr userDrawn="1"/>
        </p:nvSpPr>
        <p:spPr>
          <a:xfrm>
            <a:off x="10232207" y="6371809"/>
            <a:ext cx="1731600" cy="23183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39681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0" r:id="rId1"/>
    <p:sldLayoutId id="2147483981" r:id="rId2"/>
    <p:sldLayoutId id="2147483982" r:id="rId3"/>
    <p:sldLayoutId id="2147483983" r:id="rId4"/>
    <p:sldLayoutId id="2147483984" r:id="rId5"/>
    <p:sldLayoutId id="2147483985" r:id="rId6"/>
    <p:sldLayoutId id="2147483986" r:id="rId7"/>
    <p:sldLayoutId id="2147483987" r:id="rId8"/>
    <p:sldLayoutId id="2147483988" r:id="rId9"/>
    <p:sldLayoutId id="2147483989" r:id="rId10"/>
    <p:sldLayoutId id="2147483990" r:id="rId11"/>
    <p:sldLayoutId id="2147483991" r:id="rId12"/>
    <p:sldLayoutId id="2147483992" r:id="rId13"/>
    <p:sldLayoutId id="2147483993" r:id="rId14"/>
    <p:sldLayoutId id="2147483994" r:id="rId15"/>
    <p:sldLayoutId id="2147483995" r:id="rId16"/>
    <p:sldLayoutId id="2147483996" r:id="rId17"/>
    <p:sldLayoutId id="2147483997" r:id="rId1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400"/>
        </a:spcBef>
        <a:buFont typeface="Credit Suisse Type Roman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500"/>
        </a:spcBef>
        <a:buFont typeface="Credit Suisse Type Roman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49">
          <p15:clr>
            <a:srgbClr val="F26B43"/>
          </p15:clr>
        </p15:guide>
        <p15:guide id="2" orient="horz" pos="3793">
          <p15:clr>
            <a:srgbClr val="F26B43"/>
          </p15:clr>
        </p15:guide>
        <p15:guide id="3" pos="143">
          <p15:clr>
            <a:srgbClr val="F26B43"/>
          </p15:clr>
        </p15:guide>
        <p15:guide id="4" pos="7537">
          <p15:clr>
            <a:srgbClr val="F26B43"/>
          </p15:clr>
        </p15:guide>
        <p15:guide id="5" pos="3908">
          <p15:clr>
            <a:srgbClr val="F26B43"/>
          </p15:clr>
        </p15:guide>
        <p15:guide id="6" pos="377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emf"/><Relationship Id="rId9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D05882-0846-4F98-8728-91BBF8E380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2972" y="1976281"/>
            <a:ext cx="10086056" cy="588623"/>
          </a:xfrm>
        </p:spPr>
        <p:txBody>
          <a:bodyPr/>
          <a:lstStyle/>
          <a:p>
            <a:r>
              <a:rPr lang="en-IN" dirty="0"/>
              <a:t>Automatic Minutes of Meeting - </a:t>
            </a:r>
            <a:r>
              <a:rPr lang="en-IN" dirty="0" err="1"/>
              <a:t>MoMBot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F54735-F86C-4D93-971F-8945F451978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52972" y="2564904"/>
            <a:ext cx="7560000" cy="3453253"/>
          </a:xfrm>
        </p:spPr>
        <p:txBody>
          <a:bodyPr/>
          <a:lstStyle/>
          <a:p>
            <a:endParaRPr lang="en-IN" dirty="0"/>
          </a:p>
          <a:p>
            <a:r>
              <a:rPr lang="en-IN" sz="3200" dirty="0"/>
              <a:t>- Presented by Team COMBATS</a:t>
            </a:r>
          </a:p>
          <a:p>
            <a:endParaRPr lang="en-IN" sz="3200" dirty="0"/>
          </a:p>
          <a:p>
            <a:r>
              <a:rPr lang="en-IN" sz="3200" dirty="0"/>
              <a:t>		- Vikas Wadhwani</a:t>
            </a:r>
          </a:p>
          <a:p>
            <a:r>
              <a:rPr lang="en-IN" sz="3200" dirty="0"/>
              <a:t>		- Priyanka Agrawal</a:t>
            </a:r>
          </a:p>
          <a:p>
            <a:r>
              <a:rPr lang="en-IN" sz="3200" dirty="0"/>
              <a:t>		- Aman Chauhan</a:t>
            </a:r>
          </a:p>
          <a:p>
            <a:r>
              <a:rPr lang="en-IN" sz="3200" dirty="0"/>
              <a:t>		- Yogesh Gawari</a:t>
            </a:r>
          </a:p>
          <a:p>
            <a:r>
              <a:rPr lang="en-IN" sz="3200" dirty="0"/>
              <a:t>		- Rupesh Thopate (QA)</a:t>
            </a:r>
            <a:endParaRPr lang="en-US" sz="32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D9D4CDC-E173-4E6E-99C5-D5D1997FE7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26281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DFE65E0-C4D1-3BE1-91E8-93055442E3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FB8B9C-B113-F882-4C14-7DCC7382D8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5774825-35DB-4612-9712-DA03DBF07B7E}" type="slidenum">
              <a:rPr lang="en-US" noProof="0" smtClean="0"/>
              <a:pPr/>
              <a:t>2</a:t>
            </a:fld>
            <a:endParaRPr lang="en-US" noProof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76D980A-6F46-CC5F-8D08-5123F6BB63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89927" y="164020"/>
            <a:ext cx="4028571" cy="3852967"/>
          </a:xfrm>
          <a:prstGeom prst="rect">
            <a:avLst/>
          </a:prstGeom>
        </p:spPr>
      </p:pic>
      <p:sp>
        <p:nvSpPr>
          <p:cNvPr id="9" name="Arrow: Striped Right 8">
            <a:extLst>
              <a:ext uri="{FF2B5EF4-FFF2-40B4-BE49-F238E27FC236}">
                <a16:creationId xmlns:a16="http://schemas.microsoft.com/office/drawing/2014/main" id="{524A19E3-4165-BBB1-905A-DB2B2491014D}"/>
              </a:ext>
            </a:extLst>
          </p:cNvPr>
          <p:cNvSpPr/>
          <p:nvPr/>
        </p:nvSpPr>
        <p:spPr>
          <a:xfrm>
            <a:off x="5212080" y="1650512"/>
            <a:ext cx="1987613" cy="1371600"/>
          </a:xfrm>
          <a:prstGeom prst="striped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216000" indent="-216000" algn="l">
              <a:spcBef>
                <a:spcPts val="500"/>
              </a:spcBef>
              <a:buFont typeface="Wingdings" panose="05000000000000000000" pitchFamily="2" charset="2"/>
              <a:buChar char="§"/>
            </a:pPr>
            <a:endParaRPr lang="en-IN" sz="1600" dirty="0" err="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55DBEBA-831A-B92B-D65F-1AC0D55E2C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8422" y="193437"/>
            <a:ext cx="3425104" cy="382355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60CE834-D38F-59F9-599B-FDA0812AF107}"/>
              </a:ext>
            </a:extLst>
          </p:cNvPr>
          <p:cNvSpPr txBox="1"/>
          <p:nvPr/>
        </p:nvSpPr>
        <p:spPr>
          <a:xfrm>
            <a:off x="227347" y="4079240"/>
            <a:ext cx="6096000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Diverted focu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an </a:t>
            </a:r>
            <a:r>
              <a:rPr lang="en-US" b="0" dirty="0"/>
              <a:t>miss on important points, dates, 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Efforts and Time Consum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Timely need to send mail to participa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Completely dependent on understanding of an individual preparing minut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08B7927-EC5B-7E02-52DF-1B0490BAA90F}"/>
              </a:ext>
            </a:extLst>
          </p:cNvPr>
          <p:cNvSpPr txBox="1"/>
          <p:nvPr/>
        </p:nvSpPr>
        <p:spPr>
          <a:xfrm>
            <a:off x="6556212" y="4079240"/>
            <a:ext cx="6096000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IN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b="0" dirty="0"/>
              <a:t>Decodes speech into meaningful summa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b="0" dirty="0"/>
              <a:t>S</a:t>
            </a:r>
            <a:r>
              <a:rPr lang="en-IN" dirty="0"/>
              <a:t>mart minutes with easy access to recordings</a:t>
            </a:r>
            <a:endParaRPr lang="en-IN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b="0" dirty="0"/>
              <a:t>Well formatted </a:t>
            </a:r>
            <a:r>
              <a:rPr lang="en-IN" dirty="0"/>
              <a:t>pdf auto sent over </a:t>
            </a:r>
            <a:r>
              <a:rPr lang="en-IN" b="0" dirty="0"/>
              <a:t>emai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Saves time and effort of team memb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Increases Productivity</a:t>
            </a:r>
            <a:endParaRPr lang="en-IN" b="0" dirty="0"/>
          </a:p>
        </p:txBody>
      </p:sp>
    </p:spTree>
    <p:extLst>
      <p:ext uri="{BB962C8B-B14F-4D97-AF65-F5344CB8AC3E}">
        <p14:creationId xmlns:p14="http://schemas.microsoft.com/office/powerpoint/2010/main" val="32720338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961A13E4-05EC-4750-A2AC-1FF862C764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7806" y="108285"/>
            <a:ext cx="3319749" cy="2394808"/>
          </a:xfrm>
          <a:prstGeom prst="rect">
            <a:avLst/>
          </a:prstGeom>
        </p:spPr>
      </p:pic>
      <p:pic>
        <p:nvPicPr>
          <p:cNvPr id="72" name="Picture 71">
            <a:extLst>
              <a:ext uri="{FF2B5EF4-FFF2-40B4-BE49-F238E27FC236}">
                <a16:creationId xmlns:a16="http://schemas.microsoft.com/office/drawing/2014/main" id="{25749E56-104A-4E8F-AF5C-AFEAAB9420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43196" y="3004778"/>
            <a:ext cx="1948914" cy="645236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10B7B0-28BA-4522-9100-49EEB1217F4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639173" y="7604493"/>
            <a:ext cx="360000" cy="184666"/>
          </a:xfrm>
        </p:spPr>
        <p:txBody>
          <a:bodyPr/>
          <a:lstStyle/>
          <a:p>
            <a:fld id="{85774825-35DB-4612-9712-DA03DBF07B7E}" type="slidenum">
              <a:rPr lang="en-US" noProof="0" smtClean="0"/>
              <a:pPr/>
              <a:t>3</a:t>
            </a:fld>
            <a:endParaRPr lang="en-US" noProof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1AD80BD-27E9-4A52-A7F7-5F405DD0F81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1065" y="98903"/>
            <a:ext cx="1219200" cy="987228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1503D5D0-BD06-415A-AF66-C967FF90CE0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02560" y="4179921"/>
            <a:ext cx="1562353" cy="484836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EE661BA5-FFC0-49E3-B993-C99DD4FD418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67938" y="560025"/>
            <a:ext cx="825077" cy="499648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9202E944-71F1-4857-92D3-11866CD369F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496015" y="523091"/>
            <a:ext cx="1099097" cy="978569"/>
          </a:xfrm>
          <a:prstGeom prst="rect">
            <a:avLst/>
          </a:prstGeom>
        </p:spPr>
      </p:pic>
      <p:sp>
        <p:nvSpPr>
          <p:cNvPr id="30" name="Flowchart: Process 29">
            <a:extLst>
              <a:ext uri="{FF2B5EF4-FFF2-40B4-BE49-F238E27FC236}">
                <a16:creationId xmlns:a16="http://schemas.microsoft.com/office/drawing/2014/main" id="{0E83CB55-14BA-41D7-A0AB-50AD9CCC72D6}"/>
              </a:ext>
            </a:extLst>
          </p:cNvPr>
          <p:cNvSpPr/>
          <p:nvPr/>
        </p:nvSpPr>
        <p:spPr>
          <a:xfrm>
            <a:off x="8731248" y="2825217"/>
            <a:ext cx="1775788" cy="1839540"/>
          </a:xfrm>
          <a:prstGeom prst="flowChartProcess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t"/>
          <a:lstStyle/>
          <a:p>
            <a:pPr algn="l">
              <a:spcBef>
                <a:spcPts val="500"/>
              </a:spcBef>
            </a:pPr>
            <a:r>
              <a:rPr lang="en-SG" sz="1600" dirty="0" err="1"/>
              <a:t>Streamlit</a:t>
            </a:r>
            <a:r>
              <a:rPr lang="en-SG" sz="1600" dirty="0"/>
              <a:t> GUI (Python module)</a:t>
            </a:r>
          </a:p>
        </p:txBody>
      </p:sp>
      <p:sp>
        <p:nvSpPr>
          <p:cNvPr id="41" name="Flowchart: Process 40">
            <a:extLst>
              <a:ext uri="{FF2B5EF4-FFF2-40B4-BE49-F238E27FC236}">
                <a16:creationId xmlns:a16="http://schemas.microsoft.com/office/drawing/2014/main" id="{3DC99AA6-0275-40B3-9967-710388952DB9}"/>
              </a:ext>
            </a:extLst>
          </p:cNvPr>
          <p:cNvSpPr/>
          <p:nvPr/>
        </p:nvSpPr>
        <p:spPr>
          <a:xfrm>
            <a:off x="3510300" y="4007482"/>
            <a:ext cx="2337473" cy="2598270"/>
          </a:xfrm>
          <a:prstGeom prst="flowChartProcess">
            <a:avLst/>
          </a:prstGeom>
          <a:noFill/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t"/>
          <a:lstStyle/>
          <a:p>
            <a:pPr marL="216000" indent="-216000" algn="l">
              <a:spcBef>
                <a:spcPts val="500"/>
              </a:spcBef>
              <a:buFont typeface="Wingdings" panose="05000000000000000000" pitchFamily="2" charset="2"/>
              <a:buChar char="§"/>
            </a:pPr>
            <a:endParaRPr lang="en-SG" sz="1600" dirty="0" err="1"/>
          </a:p>
        </p:txBody>
      </p: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9EFA76BD-5CCE-476D-BBE6-146E8640213E}"/>
              </a:ext>
            </a:extLst>
          </p:cNvPr>
          <p:cNvCxnSpPr>
            <a:cxnSpLocks/>
            <a:stCxn id="72" idx="3"/>
            <a:endCxn id="30" idx="1"/>
          </p:cNvCxnSpPr>
          <p:nvPr/>
        </p:nvCxnSpPr>
        <p:spPr>
          <a:xfrm>
            <a:off x="5992110" y="3327396"/>
            <a:ext cx="2739138" cy="41759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Flowchart: Process 45">
            <a:extLst>
              <a:ext uri="{FF2B5EF4-FFF2-40B4-BE49-F238E27FC236}">
                <a16:creationId xmlns:a16="http://schemas.microsoft.com/office/drawing/2014/main" id="{375FE2D8-0412-4676-89DE-504F5F90B408}"/>
              </a:ext>
            </a:extLst>
          </p:cNvPr>
          <p:cNvSpPr/>
          <p:nvPr/>
        </p:nvSpPr>
        <p:spPr>
          <a:xfrm>
            <a:off x="8588484" y="324531"/>
            <a:ext cx="2071025" cy="1392795"/>
          </a:xfrm>
          <a:prstGeom prst="flowChartProcess">
            <a:avLst/>
          </a:prstGeom>
          <a:noFill/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t"/>
          <a:lstStyle/>
          <a:p>
            <a:pPr marL="216000" indent="-216000" algn="l">
              <a:spcBef>
                <a:spcPts val="500"/>
              </a:spcBef>
              <a:buFont typeface="Wingdings" panose="05000000000000000000" pitchFamily="2" charset="2"/>
              <a:buChar char="§"/>
            </a:pPr>
            <a:endParaRPr lang="en-SG" sz="1600" dirty="0" err="1"/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1681B643-7E06-CDA7-2FD2-CC684775507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894613" y="3485459"/>
            <a:ext cx="1288276" cy="992356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E330822B-E441-4049-9455-48D3B10A501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8189" y="1688539"/>
            <a:ext cx="1219200" cy="987228"/>
          </a:xfrm>
          <a:prstGeom prst="rect">
            <a:avLst/>
          </a:prstGeom>
        </p:spPr>
      </p:pic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84FFD509-414F-4123-89C1-09ADE09E110A}"/>
              </a:ext>
            </a:extLst>
          </p:cNvPr>
          <p:cNvCxnSpPr>
            <a:cxnSpLocks/>
          </p:cNvCxnSpPr>
          <p:nvPr/>
        </p:nvCxnSpPr>
        <p:spPr>
          <a:xfrm flipV="1">
            <a:off x="1271840" y="1717326"/>
            <a:ext cx="901169" cy="46482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55F56337-BAB5-49CF-B5A5-EB5C76030FD7}"/>
              </a:ext>
            </a:extLst>
          </p:cNvPr>
          <p:cNvCxnSpPr>
            <a:cxnSpLocks/>
          </p:cNvCxnSpPr>
          <p:nvPr/>
        </p:nvCxnSpPr>
        <p:spPr>
          <a:xfrm>
            <a:off x="1354435" y="441434"/>
            <a:ext cx="806193" cy="31085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Arrow: Right 7">
            <a:extLst>
              <a:ext uri="{FF2B5EF4-FFF2-40B4-BE49-F238E27FC236}">
                <a16:creationId xmlns:a16="http://schemas.microsoft.com/office/drawing/2014/main" id="{78397B4E-A4D1-4AC0-A50F-3A5B775F0CA5}"/>
              </a:ext>
            </a:extLst>
          </p:cNvPr>
          <p:cNvSpPr/>
          <p:nvPr/>
        </p:nvSpPr>
        <p:spPr>
          <a:xfrm>
            <a:off x="4342750" y="1087825"/>
            <a:ext cx="497264" cy="408573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216000" indent="-216000" algn="l">
              <a:spcBef>
                <a:spcPts val="500"/>
              </a:spcBef>
              <a:buFont typeface="Wingdings" panose="05000000000000000000" pitchFamily="2" charset="2"/>
              <a:buChar char="§"/>
            </a:pPr>
            <a:endParaRPr lang="en-IN" sz="1600" dirty="0" err="1"/>
          </a:p>
        </p:txBody>
      </p:sp>
      <p:sp>
        <p:nvSpPr>
          <p:cNvPr id="17" name="Arrow: Down 16">
            <a:extLst>
              <a:ext uri="{FF2B5EF4-FFF2-40B4-BE49-F238E27FC236}">
                <a16:creationId xmlns:a16="http://schemas.microsoft.com/office/drawing/2014/main" id="{1C6809BF-E723-4AD0-B1BB-AC7014540C27}"/>
              </a:ext>
            </a:extLst>
          </p:cNvPr>
          <p:cNvSpPr/>
          <p:nvPr/>
        </p:nvSpPr>
        <p:spPr>
          <a:xfrm>
            <a:off x="4981902" y="2471561"/>
            <a:ext cx="332589" cy="550525"/>
          </a:xfrm>
          <a:prstGeom prst="down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216000" indent="-216000" algn="l">
              <a:spcBef>
                <a:spcPts val="500"/>
              </a:spcBef>
              <a:buFont typeface="Wingdings" panose="05000000000000000000" pitchFamily="2" charset="2"/>
              <a:buChar char="§"/>
            </a:pPr>
            <a:endParaRPr lang="en-IN" sz="1600" dirty="0" err="1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33607461-CCF7-47B5-8695-35E9AC8C2D9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937259" y="4866369"/>
            <a:ext cx="1597954" cy="1378161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E92BE5B-BAE5-4D50-9930-9C3E84E44336}"/>
              </a:ext>
            </a:extLst>
          </p:cNvPr>
          <p:cNvSpPr txBox="1"/>
          <p:nvPr/>
        </p:nvSpPr>
        <p:spPr>
          <a:xfrm>
            <a:off x="4049379" y="6615641"/>
            <a:ext cx="148583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500"/>
              </a:spcBef>
            </a:pPr>
            <a:r>
              <a:rPr lang="en-IN" sz="1600" dirty="0" err="1"/>
              <a:t>AssemblyAI</a:t>
            </a:r>
            <a:endParaRPr lang="en-IN" sz="1600" dirty="0"/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D65B4242-0B47-4D9F-9C32-03354AF3BFEF}"/>
              </a:ext>
            </a:extLst>
          </p:cNvPr>
          <p:cNvCxnSpPr>
            <a:stCxn id="30" idx="1"/>
            <a:endCxn id="41" idx="3"/>
          </p:cNvCxnSpPr>
          <p:nvPr/>
        </p:nvCxnSpPr>
        <p:spPr>
          <a:xfrm flipH="1">
            <a:off x="5847773" y="3744987"/>
            <a:ext cx="2883475" cy="156163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D2BE721B-308E-455C-B9E7-DE4624C87169}"/>
              </a:ext>
            </a:extLst>
          </p:cNvPr>
          <p:cNvCxnSpPr>
            <a:cxnSpLocks/>
            <a:stCxn id="30" idx="0"/>
            <a:endCxn id="46" idx="2"/>
          </p:cNvCxnSpPr>
          <p:nvPr/>
        </p:nvCxnSpPr>
        <p:spPr>
          <a:xfrm flipV="1">
            <a:off x="9619142" y="1717326"/>
            <a:ext cx="4855" cy="110789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192043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E827D1-0F70-492F-AA92-B22393A9ED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Technology Stack used for </a:t>
            </a:r>
            <a:r>
              <a:rPr lang="en-IN" dirty="0" err="1"/>
              <a:t>MoMBo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338750-3AB3-4541-A2F8-A118B75199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5774825-35DB-4612-9712-DA03DBF07B7E}" type="slidenum">
              <a:rPr lang="en-US" noProof="0" smtClean="0"/>
              <a:pPr/>
              <a:t>4</a:t>
            </a:fld>
            <a:endParaRPr lang="en-US" noProof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F895BE7-FF8F-4155-9931-F63D34A84D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5763" y="1360405"/>
            <a:ext cx="3591426" cy="81926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76D589B-ED1C-4DDD-A47E-4092563EAF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4263" y="2393612"/>
            <a:ext cx="3248478" cy="159089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F1163C6-CE40-4BC8-8D29-7F6F76B277D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94497" y="4941131"/>
            <a:ext cx="1857634" cy="165758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9F8890B1-1F47-475F-BB6D-D4555DAF2BC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10664" y="3091547"/>
            <a:ext cx="2448267" cy="121937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D58267D0-DA7D-4604-AB90-8B378DA1CBC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443331" y="936483"/>
            <a:ext cx="2181529" cy="1667108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727CFC05-27B7-42F6-8DC1-2AAC5D59A422}"/>
              </a:ext>
            </a:extLst>
          </p:cNvPr>
          <p:cNvSpPr txBox="1"/>
          <p:nvPr/>
        </p:nvSpPr>
        <p:spPr>
          <a:xfrm>
            <a:off x="4403297" y="1384221"/>
            <a:ext cx="5040034" cy="32855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16000" indent="-216000" algn="l">
              <a:spcBef>
                <a:spcPts val="500"/>
              </a:spcBef>
              <a:buFont typeface="Wingdings" panose="05000000000000000000" pitchFamily="2" charset="2"/>
              <a:buChar char="§"/>
            </a:pPr>
            <a:r>
              <a:rPr lang="en-US" sz="1600" b="1" dirty="0" err="1"/>
              <a:t>AssemblyAI</a:t>
            </a:r>
            <a:r>
              <a:rPr lang="en-US" sz="1600" b="1" dirty="0"/>
              <a:t> </a:t>
            </a:r>
            <a:r>
              <a:rPr lang="en-US" sz="1600" dirty="0"/>
              <a:t>speech-to-text transcription APIs</a:t>
            </a:r>
          </a:p>
          <a:p>
            <a:pPr marL="216000" indent="-216000" algn="l">
              <a:spcBef>
                <a:spcPts val="500"/>
              </a:spcBef>
              <a:buFont typeface="Wingdings" panose="05000000000000000000" pitchFamily="2" charset="2"/>
              <a:buChar char="§"/>
            </a:pPr>
            <a:r>
              <a:rPr lang="en-US" sz="1600" b="1" dirty="0" err="1"/>
              <a:t>Streamlit</a:t>
            </a:r>
            <a:r>
              <a:rPr lang="en-US" sz="1600" dirty="0"/>
              <a:t> User interface</a:t>
            </a:r>
          </a:p>
          <a:p>
            <a:pPr marL="216000" indent="-216000" algn="l">
              <a:spcBef>
                <a:spcPts val="500"/>
              </a:spcBef>
              <a:buFont typeface="Wingdings" panose="05000000000000000000" pitchFamily="2" charset="2"/>
              <a:buChar char="§"/>
            </a:pPr>
            <a:r>
              <a:rPr lang="en-US" sz="1600" dirty="0"/>
              <a:t>Various </a:t>
            </a:r>
            <a:r>
              <a:rPr lang="en-US" sz="1600" b="1" dirty="0"/>
              <a:t>Python Libraries </a:t>
            </a:r>
            <a:r>
              <a:rPr lang="en-US" sz="1600" dirty="0"/>
              <a:t>are used.</a:t>
            </a:r>
          </a:p>
          <a:p>
            <a:pPr marL="216000" indent="-216000" algn="l">
              <a:spcBef>
                <a:spcPts val="500"/>
              </a:spcBef>
              <a:buFont typeface="Wingdings" panose="05000000000000000000" pitchFamily="2" charset="2"/>
              <a:buChar char="§"/>
            </a:pPr>
            <a:r>
              <a:rPr lang="en-US" sz="1600" dirty="0"/>
              <a:t>Integration with </a:t>
            </a:r>
            <a:r>
              <a:rPr lang="en-US" sz="1600" b="1" dirty="0"/>
              <a:t>Azure file store </a:t>
            </a:r>
            <a:r>
              <a:rPr lang="en-US" sz="1600" dirty="0"/>
              <a:t>and </a:t>
            </a:r>
            <a:r>
              <a:rPr lang="en-US" sz="1600" b="1" dirty="0"/>
              <a:t>MS Teams</a:t>
            </a:r>
          </a:p>
          <a:p>
            <a:pPr marL="216000" indent="-216000" algn="l">
              <a:spcBef>
                <a:spcPts val="500"/>
              </a:spcBef>
              <a:buFont typeface="Wingdings" panose="05000000000000000000" pitchFamily="2" charset="2"/>
              <a:buChar char="§"/>
            </a:pPr>
            <a:r>
              <a:rPr lang="en-US" sz="1600" b="1" dirty="0"/>
              <a:t>GitHub – </a:t>
            </a:r>
            <a:r>
              <a:rPr lang="en-US" sz="1600" dirty="0"/>
              <a:t>Code Repository</a:t>
            </a:r>
          </a:p>
          <a:p>
            <a:pPr marL="216000" indent="-216000" algn="l">
              <a:spcBef>
                <a:spcPts val="500"/>
              </a:spcBef>
              <a:buFont typeface="Wingdings" panose="05000000000000000000" pitchFamily="2" charset="2"/>
              <a:buChar char="§"/>
            </a:pPr>
            <a:endParaRPr lang="en-US" sz="1600" b="1" dirty="0"/>
          </a:p>
          <a:p>
            <a:pPr marL="216000" indent="-216000" algn="l">
              <a:spcBef>
                <a:spcPts val="500"/>
              </a:spcBef>
              <a:buFont typeface="Wingdings" panose="05000000000000000000" pitchFamily="2" charset="2"/>
              <a:buChar char="§"/>
            </a:pPr>
            <a:r>
              <a:rPr lang="en-US" sz="1600" b="1" dirty="0"/>
              <a:t>Additional Requirements:</a:t>
            </a:r>
          </a:p>
          <a:p>
            <a:pPr marL="216000" indent="-216000" algn="l">
              <a:spcBef>
                <a:spcPts val="500"/>
              </a:spcBef>
              <a:buFont typeface="Wingdings" panose="05000000000000000000" pitchFamily="2" charset="2"/>
              <a:buChar char="§"/>
            </a:pPr>
            <a:r>
              <a:rPr lang="en-US" sz="1600" dirty="0"/>
              <a:t>Azure Account</a:t>
            </a:r>
          </a:p>
          <a:p>
            <a:pPr marL="216000" indent="-216000" algn="l">
              <a:spcBef>
                <a:spcPts val="500"/>
              </a:spcBef>
              <a:buFont typeface="Wingdings" panose="05000000000000000000" pitchFamily="2" charset="2"/>
              <a:buChar char="§"/>
            </a:pPr>
            <a:r>
              <a:rPr lang="en-US" sz="1600" dirty="0"/>
              <a:t>Azure File Store</a:t>
            </a:r>
          </a:p>
          <a:p>
            <a:pPr marL="216000" indent="-216000" algn="l">
              <a:spcBef>
                <a:spcPts val="500"/>
              </a:spcBef>
              <a:buFont typeface="Wingdings" panose="05000000000000000000" pitchFamily="2" charset="2"/>
              <a:buChar char="§"/>
            </a:pPr>
            <a:r>
              <a:rPr lang="en-US" sz="1600" dirty="0"/>
              <a:t>Create your free </a:t>
            </a:r>
            <a:r>
              <a:rPr lang="en-US" sz="1600" dirty="0" err="1"/>
              <a:t>AssemblyAI</a:t>
            </a:r>
            <a:r>
              <a:rPr lang="en-US" sz="1600" dirty="0"/>
              <a:t> Account &amp; obtain your API Key.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B380EED1-31B2-4478-8EEC-F9CE6F7CA92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4263" y="4444125"/>
            <a:ext cx="3496163" cy="1028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22824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03FA83-CDF7-4B0B-855E-4D9017827C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How it works?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F54B2D-6E67-4CA9-B81F-AC56BCC4266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5774825-35DB-4612-9712-DA03DBF07B7E}" type="slidenum">
              <a:rPr lang="en-US" noProof="0" smtClean="0"/>
              <a:pPr/>
              <a:t>5</a:t>
            </a:fld>
            <a:endParaRPr lang="en-US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A1E7E39-37CB-448F-AB18-F8F5A555645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7348" y="1059747"/>
            <a:ext cx="5106652" cy="5202507"/>
          </a:xfrm>
        </p:spPr>
        <p:txBody>
          <a:bodyPr/>
          <a:lstStyle/>
          <a:p>
            <a:r>
              <a:rPr lang="en-US" b="0" dirty="0"/>
              <a:t>1. After MS Team Meeting, recording of the meeting can be configured to saved on Azure file store.</a:t>
            </a:r>
          </a:p>
          <a:p>
            <a:r>
              <a:rPr lang="en-US" b="0" dirty="0"/>
              <a:t>2. </a:t>
            </a:r>
            <a:r>
              <a:rPr lang="en-US" b="0" dirty="0" err="1"/>
              <a:t>MoMBot</a:t>
            </a:r>
            <a:r>
              <a:rPr lang="en-US" b="0" dirty="0"/>
              <a:t> will fetch this recording from azure shared file with desired secured credentials like storage account key</a:t>
            </a:r>
          </a:p>
          <a:p>
            <a:r>
              <a:rPr lang="en-US" b="0" dirty="0"/>
              <a:t>3. </a:t>
            </a:r>
            <a:r>
              <a:rPr lang="en-US" b="0" dirty="0" err="1"/>
              <a:t>Streamlit</a:t>
            </a:r>
            <a:r>
              <a:rPr lang="en-US" b="0" dirty="0"/>
              <a:t> UI shows recording in categories, chapters, topics, etc. in drop downs</a:t>
            </a:r>
          </a:p>
          <a:p>
            <a:r>
              <a:rPr lang="en-US" b="0" dirty="0"/>
              <a:t>4. </a:t>
            </a:r>
            <a:r>
              <a:rPr lang="en-US" b="0" dirty="0" err="1"/>
              <a:t>MoMBot</a:t>
            </a:r>
            <a:r>
              <a:rPr lang="en-US" b="0" dirty="0"/>
              <a:t> transcribes the recording performs speech-to-text transcription leveraging </a:t>
            </a:r>
            <a:r>
              <a:rPr lang="en-US" b="0" dirty="0" err="1"/>
              <a:t>AssemblyAI</a:t>
            </a:r>
            <a:r>
              <a:rPr lang="en-US" b="0" dirty="0"/>
              <a:t> APIs</a:t>
            </a:r>
          </a:p>
          <a:p>
            <a:r>
              <a:rPr lang="en-IN" b="0" dirty="0"/>
              <a:t>5. Generates </a:t>
            </a:r>
            <a:r>
              <a:rPr lang="en-IN" dirty="0"/>
              <a:t>smart minutes on GUI </a:t>
            </a:r>
            <a:r>
              <a:rPr lang="en-IN" b="0" dirty="0"/>
              <a:t>which includes text summary, as well as it takes us to the time segment where important point was discussed and can replay from that point in the recording.</a:t>
            </a:r>
          </a:p>
          <a:p>
            <a:r>
              <a:rPr lang="en-US" b="0" dirty="0"/>
              <a:t>6. Email pdf doc with minutes to intended participants.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0E22091F-581C-389E-8C66-EC6161D79B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33999" y="114012"/>
            <a:ext cx="6456219" cy="6629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8593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C7BF03-1D8B-491E-841C-52130F7A3E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Day 2 – Enhancements (as Rome was not built in 2 days </a:t>
            </a:r>
            <a:r>
              <a:rPr lang="en-IN" dirty="0">
                <a:sym typeface="Wingdings" panose="05000000000000000000" pitchFamily="2" charset="2"/>
              </a:rPr>
              <a:t>)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0EAFA5-6327-4271-A3F9-A046FD0C9DA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5774825-35DB-4612-9712-DA03DBF07B7E}" type="slidenum">
              <a:rPr lang="en-US" noProof="0" smtClean="0"/>
              <a:pPr/>
              <a:t>6</a:t>
            </a:fld>
            <a:endParaRPr lang="en-US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43DA32C-10A3-40DE-B3E0-69B8808312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7348" y="1059748"/>
            <a:ext cx="11244216" cy="496105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IN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b="0" dirty="0"/>
              <a:t>Integration with Meeting Apps like MS Teams, Skype, Zoom, google meet, 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b="0" dirty="0"/>
              <a:t>Natural Lang Processing to fetch Action Items accuratel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b="0" dirty="0"/>
              <a:t>POC and ETA of a task or point discussed and creating a backlog and can enhance to send reminder for task comple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b="0" dirty="0"/>
              <a:t>Performance improvements in case of long meetings using cach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b="0" dirty="0"/>
              <a:t>Embedding meeting audio files into the pdf, doc, etc. in order to understand the points with clar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b="0" dirty="0"/>
              <a:t>Internationalizations support by providing speech to text from various languag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1028" name="Picture 4" descr="44,610 Road Map Stock Photos, Pictures &amp; Royalty-Free Images - iStock">
            <a:extLst>
              <a:ext uri="{FF2B5EF4-FFF2-40B4-BE49-F238E27FC236}">
                <a16:creationId xmlns:a16="http://schemas.microsoft.com/office/drawing/2014/main" id="{562361F7-72CC-CDD2-C489-8B8D730708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65590" y="3208337"/>
            <a:ext cx="3026410" cy="3026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829040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02C9CD-1B5D-4E32-9185-D2BDEE8E634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5774825-35DB-4612-9712-DA03DBF07B7E}" type="slidenum">
              <a:rPr lang="en-US" noProof="0" smtClean="0"/>
              <a:pPr/>
              <a:t>7</a:t>
            </a:fld>
            <a:endParaRPr lang="en-US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4A4EE89-1FEA-41E3-B77A-2F726928F0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7347" y="2493818"/>
            <a:ext cx="11220465" cy="1995055"/>
          </a:xfrm>
        </p:spPr>
        <p:txBody>
          <a:bodyPr/>
          <a:lstStyle/>
          <a:p>
            <a:pPr algn="ctr"/>
            <a:r>
              <a:rPr lang="en-IN" sz="6000" dirty="0"/>
              <a:t>Thank You</a:t>
            </a:r>
            <a:endParaRPr lang="en-US" sz="6000" dirty="0"/>
          </a:p>
        </p:txBody>
      </p:sp>
    </p:spTree>
    <p:extLst>
      <p:ext uri="{BB962C8B-B14F-4D97-AF65-F5344CB8AC3E}">
        <p14:creationId xmlns:p14="http://schemas.microsoft.com/office/powerpoint/2010/main" val="8605303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redit Suisse Blue">
  <a:themeElements>
    <a:clrScheme name="Credit Suisse 2022 (blue)">
      <a:dk1>
        <a:srgbClr val="000000"/>
      </a:dk1>
      <a:lt1>
        <a:sysClr val="window" lastClr="FFFFFF"/>
      </a:lt1>
      <a:dk2>
        <a:srgbClr val="003868"/>
      </a:dk2>
      <a:lt2>
        <a:srgbClr val="FFFFFF"/>
      </a:lt2>
      <a:accent1>
        <a:srgbClr val="002746"/>
      </a:accent1>
      <a:accent2>
        <a:srgbClr val="003868"/>
      </a:accent2>
      <a:accent3>
        <a:srgbClr val="265682"/>
      </a:accent3>
      <a:accent4>
        <a:srgbClr val="507CAB"/>
      </a:accent4>
      <a:accent5>
        <a:srgbClr val="EBAF34"/>
      </a:accent5>
      <a:accent6>
        <a:srgbClr val="F0C352"/>
      </a:accent6>
      <a:hlink>
        <a:srgbClr val="000000"/>
      </a:hlink>
      <a:folHlink>
        <a:srgbClr val="000000"/>
      </a:folHlink>
    </a:clrScheme>
    <a:fontScheme name="Credit Suisse 2022">
      <a:majorFont>
        <a:latin typeface="Credit Suisse Headline"/>
        <a:ea typeface=""/>
        <a:cs typeface=""/>
      </a:majorFont>
      <a:minorFont>
        <a:latin typeface="Credit Suisse Type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/>
      <a:lstStyle>
        <a:defPPr marL="216000" indent="-216000" algn="l">
          <a:spcBef>
            <a:spcPts val="500"/>
          </a:spcBef>
          <a:buFont typeface="Wingdings" panose="05000000000000000000" pitchFamily="2" charset="2"/>
          <a:buChar char="§"/>
          <a:defRPr sz="16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216000" indent="-216000" algn="l">
          <a:spcBef>
            <a:spcPts val="500"/>
          </a:spcBef>
          <a:buFont typeface="Wingdings" panose="05000000000000000000" pitchFamily="2" charset="2"/>
          <a:buChar char="§"/>
          <a:defRPr sz="1600" dirty="0" err="1" smtClean="0"/>
        </a:defPPr>
      </a:lstStyle>
    </a:txDef>
  </a:objectDefaults>
  <a:extraClrSchemeLst/>
  <a:custClrLst>
    <a:custClr name="CS Dimmed Blue Dark">
      <a:srgbClr val="4E6177"/>
    </a:custClr>
    <a:custClr name="CS Dimmed Blue Mid">
      <a:srgbClr val="72869D"/>
    </a:custClr>
    <a:custClr name="CS Dimmed Blue Bright">
      <a:srgbClr val="A7BBD4"/>
    </a:custClr>
    <a:custClr name="CS Dimmed Blue Light">
      <a:srgbClr val="D7E4F6"/>
    </a:custClr>
    <a:custClr name="Credit Suisse White">
      <a:srgbClr val="FFFFFF"/>
    </a:custClr>
    <a:custClr name="CS Bold Blue Dark">
      <a:srgbClr val="002746"/>
    </a:custClr>
    <a:custClr name="CS Bold Blue Mid (Credit Suisse Blue)">
      <a:srgbClr val="003868"/>
    </a:custClr>
    <a:custClr name="CS Bold Blue Bright">
      <a:srgbClr val="265682"/>
    </a:custClr>
    <a:custClr name="CS Bold Blue Light">
      <a:srgbClr val="507CAB"/>
    </a:custClr>
    <a:custClr name="Credit Suisse White">
      <a:srgbClr val="FFFFFF"/>
    </a:custClr>
    <a:custClr name="CS Dimmed Gray Dark">
      <a:srgbClr val="82838C"/>
    </a:custClr>
    <a:custClr name="CS Dimmed Green Dark">
      <a:srgbClr val="687C72"/>
    </a:custClr>
    <a:custClr name="CS Dimmed Gold Dark">
      <a:srgbClr val="B79961"/>
    </a:custClr>
    <a:custClr name="CS Dimmed Bronze Dark">
      <a:srgbClr val="C08062"/>
    </a:custClr>
    <a:custClr name="CS Dimmed Red Dark">
      <a:srgbClr val="D7897F"/>
    </a:custClr>
    <a:custClr name="CS Bold Gray Dark">
      <a:srgbClr val="45464E"/>
    </a:custClr>
    <a:custClr name="CS Bold Green Dark">
      <a:srgbClr val="1C5038"/>
    </a:custClr>
    <a:custClr name="CS Bold Gold Dark">
      <a:srgbClr val="B27500"/>
    </a:custClr>
    <a:custClr name="CS Bold Bronze Dark">
      <a:srgbClr val="914927"/>
    </a:custClr>
    <a:custClr name="CS Bold Red Dark">
      <a:srgbClr val="B6413F"/>
    </a:custClr>
    <a:custClr name="CS Dimmed Gray Mid">
      <a:srgbClr val="9D9DA7"/>
    </a:custClr>
    <a:custClr name="CS Dimmed Green Mid">
      <a:srgbClr val="8EA298"/>
    </a:custClr>
    <a:custClr name="CS Dimmed Gold Mid">
      <a:srgbClr val="D0B481"/>
    </a:custClr>
    <a:custClr name="CS Dimmed Bronze Mid">
      <a:srgbClr val="D69E83"/>
    </a:custClr>
    <a:custClr name="CS Dimmed Red Mid">
      <a:srgbClr val="ECA69E"/>
    </a:custClr>
    <a:custClr name="CS Bold Gray Mid">
      <a:srgbClr val="5D5E66"/>
    </a:custClr>
    <a:custClr name="CS Bold Green Mid">
      <a:srgbClr val="35684F"/>
    </a:custClr>
    <a:custClr name="CS Bold Gold Mid">
      <a:srgbClr val="C28C00"/>
    </a:custClr>
    <a:custClr name="CS Bold Bronze Mid">
      <a:srgbClr val="AE623F"/>
    </a:custClr>
    <a:custClr name="CS Bold Red Mid">
      <a:srgbClr val="D45C56"/>
    </a:custClr>
    <a:custClr name="CS Dimmed Gray Bright">
      <a:srgbClr val="C5C6CF"/>
    </a:custClr>
    <a:custClr name="CS Dimmed Green Bright">
      <a:srgbClr val="B7CCC0"/>
    </a:custClr>
    <a:custClr name="CS Dimmed Gold Bright">
      <a:srgbClr val="E5D2AF"/>
    </a:custClr>
    <a:custClr name="CS Dimmed Bronze Bright">
      <a:srgbClr val="E6BDAB"/>
    </a:custClr>
    <a:custClr name="CS Dimmed Red Bright">
      <a:srgbClr val="E3BEB8"/>
    </a:custClr>
    <a:custClr name="CS Bold Gray Bright">
      <a:srgbClr val="82838C"/>
    </a:custClr>
    <a:custClr name="CS Bold Green Bright">
      <a:srgbClr val="4F8367"/>
    </a:custClr>
    <a:custClr name="CS Bold Gold Bright">
      <a:srgbClr val="EBAF34"/>
    </a:custClr>
    <a:custClr name="CS Bold Bronze Bright">
      <a:srgbClr val="CB7C56"/>
    </a:custClr>
    <a:custClr name="CS Bold Red Bright">
      <a:srgbClr val="F37870"/>
    </a:custClr>
    <a:custClr name="CS Dimmed Gray Light">
      <a:srgbClr val="E1E2EC"/>
    </a:custClr>
    <a:custClr name="CS Dimmed Green Light">
      <a:srgbClr val="DAE6DF"/>
    </a:custClr>
    <a:custClr name="CS Dimmed Gold Light">
      <a:srgbClr val="EDE1CF"/>
    </a:custClr>
    <a:custClr name="CS Dimmed Bronze Light">
      <a:srgbClr val="F3DFD4"/>
    </a:custClr>
    <a:custClr name="CS Dimmed Red Light">
      <a:srgbClr val="F7DDDA"/>
    </a:custClr>
    <a:custClr name="CS Bold Gray Light">
      <a:srgbClr val="9D9DA7"/>
    </a:custClr>
    <a:custClr name="CS Bold Green Light">
      <a:srgbClr val="689C80"/>
    </a:custClr>
    <a:custClr name="CS Bold Gold Light">
      <a:srgbClr val="F0C352"/>
    </a:custClr>
    <a:custClr name="CS Bold Bronze Light">
      <a:srgbClr val="E9966F"/>
    </a:custClr>
    <a:custClr name="CS Bold Red Light">
      <a:srgbClr val="FF9A90"/>
    </a:custClr>
  </a:custClrLst>
  <a:extLst>
    <a:ext uri="{05A4C25C-085E-4340-85A3-A5531E510DB2}">
      <thm15:themeFamily xmlns:thm15="http://schemas.microsoft.com/office/thememl/2012/main" name="Presentation1" id="{6C2D58E4-8957-4A95-9A2E-B28E6E1DD3B9}" vid="{3BD2CC94-34AD-4240-BAD2-FCAFA7836B40}"/>
    </a:ext>
  </a:extLst>
</a:theme>
</file>

<file path=ppt/theme/theme2.xml><?xml version="1.0" encoding="utf-8"?>
<a:theme xmlns:a="http://schemas.openxmlformats.org/drawingml/2006/main" name=" Credit Suisse Gray">
  <a:themeElements>
    <a:clrScheme name="Credit Suisse 2022 (gray)">
      <a:dk1>
        <a:srgbClr val="000000"/>
      </a:dk1>
      <a:lt1>
        <a:sysClr val="window" lastClr="FFFFFF"/>
      </a:lt1>
      <a:dk2>
        <a:srgbClr val="003868"/>
      </a:dk2>
      <a:lt2>
        <a:srgbClr val="FFFFFF"/>
      </a:lt2>
      <a:accent1>
        <a:srgbClr val="45464E"/>
      </a:accent1>
      <a:accent2>
        <a:srgbClr val="5D5E66"/>
      </a:accent2>
      <a:accent3>
        <a:srgbClr val="82838C"/>
      </a:accent3>
      <a:accent4>
        <a:srgbClr val="9D9DA7"/>
      </a:accent4>
      <a:accent5>
        <a:srgbClr val="EBAF34"/>
      </a:accent5>
      <a:accent6>
        <a:srgbClr val="F0C352"/>
      </a:accent6>
      <a:hlink>
        <a:srgbClr val="000000"/>
      </a:hlink>
      <a:folHlink>
        <a:srgbClr val="000000"/>
      </a:folHlink>
    </a:clrScheme>
    <a:fontScheme name="Credit Suisse 2022">
      <a:majorFont>
        <a:latin typeface="Credit Suisse Headline"/>
        <a:ea typeface=""/>
        <a:cs typeface=""/>
      </a:majorFont>
      <a:minorFont>
        <a:latin typeface="Credit Suisse Type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/>
      <a:lstStyle>
        <a:defPPr marL="216000" indent="-216000" algn="l">
          <a:spcBef>
            <a:spcPts val="500"/>
          </a:spcBef>
          <a:buFont typeface="Wingdings" panose="05000000000000000000" pitchFamily="2" charset="2"/>
          <a:buChar char="§"/>
          <a:defRPr sz="16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>
          <a:spcBef>
            <a:spcPts val="500"/>
          </a:spcBef>
          <a:buFont typeface="Wingdings" panose="05000000000000000000" pitchFamily="2" charset="2"/>
          <a:buChar char="§"/>
          <a:defRPr sz="1600" dirty="0" smtClean="0"/>
        </a:defPPr>
      </a:lstStyle>
    </a:txDef>
  </a:objectDefaults>
  <a:extraClrSchemeLst/>
  <a:custClrLst>
    <a:custClr name="CS Dimmed Blue Dark">
      <a:srgbClr val="4E6177"/>
    </a:custClr>
    <a:custClr name="CS Dimmed Blue Mid">
      <a:srgbClr val="72869D"/>
    </a:custClr>
    <a:custClr name="CS Dimmed Blue Bright">
      <a:srgbClr val="A7BBD4"/>
    </a:custClr>
    <a:custClr name="CS Dimmed Blue Light">
      <a:srgbClr val="D7E4F6"/>
    </a:custClr>
    <a:custClr name="Credit Suisse White">
      <a:srgbClr val="FFFFFF"/>
    </a:custClr>
    <a:custClr name="CS Bold Blue Dark">
      <a:srgbClr val="002746"/>
    </a:custClr>
    <a:custClr name="CS Bold Blue Mid (Credit Suisse Blue)">
      <a:srgbClr val="003868"/>
    </a:custClr>
    <a:custClr name="CS Bold Blue Bright">
      <a:srgbClr val="265682"/>
    </a:custClr>
    <a:custClr name="CS Bold Blue Light">
      <a:srgbClr val="507CAB"/>
    </a:custClr>
    <a:custClr name="Credit Suisse White">
      <a:srgbClr val="FFFFFF"/>
    </a:custClr>
    <a:custClr name="CS Dimmed Gray Dark">
      <a:srgbClr val="82838C"/>
    </a:custClr>
    <a:custClr name="CS Dimmed Green Dark">
      <a:srgbClr val="687C72"/>
    </a:custClr>
    <a:custClr name="CS Dimmed Gold Dark">
      <a:srgbClr val="B79961"/>
    </a:custClr>
    <a:custClr name="CS Dimmed Bronze Dark">
      <a:srgbClr val="C08062"/>
    </a:custClr>
    <a:custClr name="CS Dimmed Red Dark">
      <a:srgbClr val="D7897F"/>
    </a:custClr>
    <a:custClr name="CS Bold Gray Dark">
      <a:srgbClr val="45464E"/>
    </a:custClr>
    <a:custClr name="CS Bold Green Dark">
      <a:srgbClr val="1C5038"/>
    </a:custClr>
    <a:custClr name="CS Bold Gold Dark">
      <a:srgbClr val="B27500"/>
    </a:custClr>
    <a:custClr name="CS Bold Bronze Dark">
      <a:srgbClr val="914927"/>
    </a:custClr>
    <a:custClr name="CS Bold Red Dark">
      <a:srgbClr val="B6413F"/>
    </a:custClr>
    <a:custClr name="CS Dimmed Gray Mid">
      <a:srgbClr val="9D9DA7"/>
    </a:custClr>
    <a:custClr name="CS Dimmed Green Mid">
      <a:srgbClr val="8EA298"/>
    </a:custClr>
    <a:custClr name="CS Dimmed Gold Mid">
      <a:srgbClr val="D0B481"/>
    </a:custClr>
    <a:custClr name="CS Dimmed Bronze Mid">
      <a:srgbClr val="D69E83"/>
    </a:custClr>
    <a:custClr name="CS Dimmed Red Mid">
      <a:srgbClr val="ECA69E"/>
    </a:custClr>
    <a:custClr name="CS Bold Gray Mid">
      <a:srgbClr val="5D5E66"/>
    </a:custClr>
    <a:custClr name="CS Bold Green Mid">
      <a:srgbClr val="35684F"/>
    </a:custClr>
    <a:custClr name="CS Bold Gold Mid">
      <a:srgbClr val="C28C00"/>
    </a:custClr>
    <a:custClr name="CS Bold Bronze Mid">
      <a:srgbClr val="AE623F"/>
    </a:custClr>
    <a:custClr name="CS Bold Red Mid">
      <a:srgbClr val="D45C56"/>
    </a:custClr>
    <a:custClr name="CS Dimmed Gray Bright">
      <a:srgbClr val="C5C6CF"/>
    </a:custClr>
    <a:custClr name="CS Dimmed Green Bright">
      <a:srgbClr val="B7CCC0"/>
    </a:custClr>
    <a:custClr name="CS Dimmed Gold Bright">
      <a:srgbClr val="E5D2AF"/>
    </a:custClr>
    <a:custClr name="CS Dimmed Bronze Bright">
      <a:srgbClr val="E6BDAB"/>
    </a:custClr>
    <a:custClr name="CS Dimmed Red Bright">
      <a:srgbClr val="E3BEB8"/>
    </a:custClr>
    <a:custClr name="CS Bold Gray Bright">
      <a:srgbClr val="82838C"/>
    </a:custClr>
    <a:custClr name="CS Bold Green Bright">
      <a:srgbClr val="4F8367"/>
    </a:custClr>
    <a:custClr name="CS Bold Gold Bright">
      <a:srgbClr val="EBAF34"/>
    </a:custClr>
    <a:custClr name="CS Bold Bronze Bright">
      <a:srgbClr val="CB7C56"/>
    </a:custClr>
    <a:custClr name="CS Bold Red Bright">
      <a:srgbClr val="F37870"/>
    </a:custClr>
    <a:custClr name="CS Dimmed Gray Light">
      <a:srgbClr val="E1E2EC"/>
    </a:custClr>
    <a:custClr name="CS Dimmed Green Light">
      <a:srgbClr val="DAE6DF"/>
    </a:custClr>
    <a:custClr name="CS Dimmed Gold Light">
      <a:srgbClr val="EDE1CF"/>
    </a:custClr>
    <a:custClr name="CS Dimmed Bronze Light">
      <a:srgbClr val="F3DFD4"/>
    </a:custClr>
    <a:custClr name="CS Dimmed Red Light">
      <a:srgbClr val="F7DDDA"/>
    </a:custClr>
    <a:custClr name="CS Bold Gray Light">
      <a:srgbClr val="9D9DA7"/>
    </a:custClr>
    <a:custClr name="CS Bold Green Light">
      <a:srgbClr val="689C80"/>
    </a:custClr>
    <a:custClr name="CS Bold Gold Light">
      <a:srgbClr val="F0C352"/>
    </a:custClr>
    <a:custClr name="CS Bold Bronze Light">
      <a:srgbClr val="E9966F"/>
    </a:custClr>
    <a:custClr name="CS Bold Red Light">
      <a:srgbClr val="FF9A90"/>
    </a:custClr>
  </a:custClrLst>
  <a:extLst>
    <a:ext uri="{05A4C25C-085E-4340-85A3-A5531E510DB2}">
      <thm15:themeFamily xmlns:thm15="http://schemas.microsoft.com/office/thememl/2012/main" name="Presentation1" id="{6C2D58E4-8957-4A95-9A2E-B28E6E1DD3B9}" vid="{AC1C89DF-D225-4481-9C17-0C14AC21F896}"/>
    </a:ext>
  </a:extLst>
</a:theme>
</file>

<file path=ppt/theme/theme3.xml><?xml version="1.0" encoding="utf-8"?>
<a:theme xmlns:a="http://schemas.openxmlformats.org/drawingml/2006/main" name=" Credit Suisse Green">
  <a:themeElements>
    <a:clrScheme name="Credit Suisse 2022 (green)">
      <a:dk1>
        <a:srgbClr val="000000"/>
      </a:dk1>
      <a:lt1>
        <a:sysClr val="window" lastClr="FFFFFF"/>
      </a:lt1>
      <a:dk2>
        <a:srgbClr val="003868"/>
      </a:dk2>
      <a:lt2>
        <a:srgbClr val="FFFFFF"/>
      </a:lt2>
      <a:accent1>
        <a:srgbClr val="1C5038"/>
      </a:accent1>
      <a:accent2>
        <a:srgbClr val="35684F"/>
      </a:accent2>
      <a:accent3>
        <a:srgbClr val="4F8367"/>
      </a:accent3>
      <a:accent4>
        <a:srgbClr val="689C80"/>
      </a:accent4>
      <a:accent5>
        <a:srgbClr val="EBAF34"/>
      </a:accent5>
      <a:accent6>
        <a:srgbClr val="F0C352"/>
      </a:accent6>
      <a:hlink>
        <a:srgbClr val="000000"/>
      </a:hlink>
      <a:folHlink>
        <a:srgbClr val="000000"/>
      </a:folHlink>
    </a:clrScheme>
    <a:fontScheme name="Credit Suisse 2022">
      <a:majorFont>
        <a:latin typeface="Credit Suisse Headline"/>
        <a:ea typeface=""/>
        <a:cs typeface=""/>
      </a:majorFont>
      <a:minorFont>
        <a:latin typeface="Credit Suisse Type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/>
      <a:lstStyle>
        <a:defPPr marL="216000" indent="-216000" algn="l">
          <a:spcBef>
            <a:spcPts val="500"/>
          </a:spcBef>
          <a:buFont typeface="Wingdings" panose="05000000000000000000" pitchFamily="2" charset="2"/>
          <a:buChar char="§"/>
          <a:defRPr sz="16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>
          <a:spcBef>
            <a:spcPts val="500"/>
          </a:spcBef>
          <a:buFont typeface="Wingdings" panose="05000000000000000000" pitchFamily="2" charset="2"/>
          <a:buChar char="§"/>
          <a:defRPr sz="1600" dirty="0" smtClean="0"/>
        </a:defPPr>
      </a:lstStyle>
    </a:txDef>
  </a:objectDefaults>
  <a:extraClrSchemeLst/>
  <a:custClrLst>
    <a:custClr name="CS Dimmed Blue Dark">
      <a:srgbClr val="4E6177"/>
    </a:custClr>
    <a:custClr name="CS Dimmed Blue Mid">
      <a:srgbClr val="72869D"/>
    </a:custClr>
    <a:custClr name="CS Dimmed Blue Bright">
      <a:srgbClr val="A7BBD4"/>
    </a:custClr>
    <a:custClr name="CS Dimmed Blue Light">
      <a:srgbClr val="D7E4F6"/>
    </a:custClr>
    <a:custClr name="Credit Suisse White">
      <a:srgbClr val="FFFFFF"/>
    </a:custClr>
    <a:custClr name="CS Bold Blue Dark">
      <a:srgbClr val="002746"/>
    </a:custClr>
    <a:custClr name="CS Bold Blue Mid (Credit Suisse Blue)">
      <a:srgbClr val="003868"/>
    </a:custClr>
    <a:custClr name="CS Bold Blue Bright">
      <a:srgbClr val="265682"/>
    </a:custClr>
    <a:custClr name="CS Bold Blue Light">
      <a:srgbClr val="507CAB"/>
    </a:custClr>
    <a:custClr name="Credit Suisse White">
      <a:srgbClr val="FFFFFF"/>
    </a:custClr>
    <a:custClr name="CS Dimmed Gray Dark">
      <a:srgbClr val="82838C"/>
    </a:custClr>
    <a:custClr name="CS Dimmed Green Dark">
      <a:srgbClr val="687C72"/>
    </a:custClr>
    <a:custClr name="CS Dimmed Gold Dark">
      <a:srgbClr val="B79961"/>
    </a:custClr>
    <a:custClr name="CS Dimmed Bronze Dark">
      <a:srgbClr val="C08062"/>
    </a:custClr>
    <a:custClr name="CS Dimmed Red Dark">
      <a:srgbClr val="D7897F"/>
    </a:custClr>
    <a:custClr name="CS Bold Gray Dark">
      <a:srgbClr val="45464E"/>
    </a:custClr>
    <a:custClr name="CS Bold Green Dark">
      <a:srgbClr val="1C5038"/>
    </a:custClr>
    <a:custClr name="CS Bold Gold Dark">
      <a:srgbClr val="B27500"/>
    </a:custClr>
    <a:custClr name="CS Bold Bronze Dark">
      <a:srgbClr val="914927"/>
    </a:custClr>
    <a:custClr name="CS Bold Red Dark">
      <a:srgbClr val="B6413F"/>
    </a:custClr>
    <a:custClr name="CS Dimmed Gray Mid">
      <a:srgbClr val="9D9DA7"/>
    </a:custClr>
    <a:custClr name="CS Dimmed Green Mid">
      <a:srgbClr val="8EA298"/>
    </a:custClr>
    <a:custClr name="CS Dimmed Gold Mid">
      <a:srgbClr val="D0B481"/>
    </a:custClr>
    <a:custClr name="CS Dimmed Bronze Mid">
      <a:srgbClr val="D69E83"/>
    </a:custClr>
    <a:custClr name="CS Dimmed Red Mid">
      <a:srgbClr val="ECA69E"/>
    </a:custClr>
    <a:custClr name="CS Bold Gray Mid">
      <a:srgbClr val="5D5E66"/>
    </a:custClr>
    <a:custClr name="CS Bold Green Mid">
      <a:srgbClr val="35684F"/>
    </a:custClr>
    <a:custClr name="CS Bold Gold Mid">
      <a:srgbClr val="C28C00"/>
    </a:custClr>
    <a:custClr name="CS Bold Bronze Mid">
      <a:srgbClr val="AE623F"/>
    </a:custClr>
    <a:custClr name="CS Bold Red Mid">
      <a:srgbClr val="D45C56"/>
    </a:custClr>
    <a:custClr name="CS Dimmed Gray Bright">
      <a:srgbClr val="C5C6CF"/>
    </a:custClr>
    <a:custClr name="CS Dimmed Green Bright">
      <a:srgbClr val="B7CCC0"/>
    </a:custClr>
    <a:custClr name="CS Dimmed Gold Bright">
      <a:srgbClr val="E5D2AF"/>
    </a:custClr>
    <a:custClr name="CS Dimmed Bronze Bright">
      <a:srgbClr val="E6BDAB"/>
    </a:custClr>
    <a:custClr name="CS Dimmed Red Bright">
      <a:srgbClr val="E3BEB8"/>
    </a:custClr>
    <a:custClr name="CS Bold Gray Bright">
      <a:srgbClr val="82838C"/>
    </a:custClr>
    <a:custClr name="CS Bold Green Bright">
      <a:srgbClr val="4F8367"/>
    </a:custClr>
    <a:custClr name="CS Bold Gold Bright">
      <a:srgbClr val="EBAF34"/>
    </a:custClr>
    <a:custClr name="CS Bold Bronze Bright">
      <a:srgbClr val="CB7C56"/>
    </a:custClr>
    <a:custClr name="CS Bold Red Bright">
      <a:srgbClr val="F37870"/>
    </a:custClr>
    <a:custClr name="CS Dimmed Gray Light">
      <a:srgbClr val="E1E2EC"/>
    </a:custClr>
    <a:custClr name="CS Dimmed Green Light">
      <a:srgbClr val="DAE6DF"/>
    </a:custClr>
    <a:custClr name="CS Dimmed Gold Light">
      <a:srgbClr val="EDE1CF"/>
    </a:custClr>
    <a:custClr name="CS Dimmed Bronze Light">
      <a:srgbClr val="F3DFD4"/>
    </a:custClr>
    <a:custClr name="CS Dimmed Red Light">
      <a:srgbClr val="F7DDDA"/>
    </a:custClr>
    <a:custClr name="CS Bold Gray Light">
      <a:srgbClr val="9D9DA7"/>
    </a:custClr>
    <a:custClr name="CS Bold Green Light">
      <a:srgbClr val="689C80"/>
    </a:custClr>
    <a:custClr name="CS Bold Gold Light">
      <a:srgbClr val="F0C352"/>
    </a:custClr>
    <a:custClr name="CS Bold Bronze Light">
      <a:srgbClr val="E9966F"/>
    </a:custClr>
    <a:custClr name="CS Bold Red Light">
      <a:srgbClr val="FF9A90"/>
    </a:custClr>
  </a:custClrLst>
  <a:extLst>
    <a:ext uri="{05A4C25C-085E-4340-85A3-A5531E510DB2}">
      <thm15:themeFamily xmlns:thm15="http://schemas.microsoft.com/office/thememl/2012/main" name="Presentation1" id="{6C2D58E4-8957-4A95-9A2E-B28E6E1DD3B9}" vid="{FC4FC128-464C-4599-BACD-149C431A559E}"/>
    </a:ext>
  </a:extLst>
</a:theme>
</file>

<file path=ppt/theme/theme4.xml><?xml version="1.0" encoding="utf-8"?>
<a:theme xmlns:a="http://schemas.openxmlformats.org/drawingml/2006/main" name=" Credit Suisse Gold">
  <a:themeElements>
    <a:clrScheme name="Credit Suisse 2022 (gold)">
      <a:dk1>
        <a:srgbClr val="000000"/>
      </a:dk1>
      <a:lt1>
        <a:sysClr val="window" lastClr="FFFFFF"/>
      </a:lt1>
      <a:dk2>
        <a:srgbClr val="003868"/>
      </a:dk2>
      <a:lt2>
        <a:srgbClr val="FFFFFF"/>
      </a:lt2>
      <a:accent1>
        <a:srgbClr val="B27500"/>
      </a:accent1>
      <a:accent2>
        <a:srgbClr val="C28C00"/>
      </a:accent2>
      <a:accent3>
        <a:srgbClr val="EBAF34"/>
      </a:accent3>
      <a:accent4>
        <a:srgbClr val="F0C352"/>
      </a:accent4>
      <a:accent5>
        <a:srgbClr val="82838C"/>
      </a:accent5>
      <a:accent6>
        <a:srgbClr val="9D9DA7"/>
      </a:accent6>
      <a:hlink>
        <a:srgbClr val="000000"/>
      </a:hlink>
      <a:folHlink>
        <a:srgbClr val="000000"/>
      </a:folHlink>
    </a:clrScheme>
    <a:fontScheme name="Credit Suisse 2022">
      <a:majorFont>
        <a:latin typeface="Credit Suisse Headline"/>
        <a:ea typeface=""/>
        <a:cs typeface=""/>
      </a:majorFont>
      <a:minorFont>
        <a:latin typeface="Credit Suisse Type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/>
      <a:lstStyle>
        <a:defPPr marL="216000" indent="-216000" algn="l">
          <a:spcBef>
            <a:spcPts val="500"/>
          </a:spcBef>
          <a:buFont typeface="Wingdings" panose="05000000000000000000" pitchFamily="2" charset="2"/>
          <a:buChar char="§"/>
          <a:defRPr sz="16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>
          <a:spcBef>
            <a:spcPts val="500"/>
          </a:spcBef>
          <a:buFont typeface="Wingdings" panose="05000000000000000000" pitchFamily="2" charset="2"/>
          <a:buChar char="§"/>
          <a:defRPr sz="1600" dirty="0" smtClean="0"/>
        </a:defPPr>
      </a:lstStyle>
    </a:txDef>
  </a:objectDefaults>
  <a:extraClrSchemeLst/>
  <a:custClrLst>
    <a:custClr name="CS Dimmed Blue Dark">
      <a:srgbClr val="4E6177"/>
    </a:custClr>
    <a:custClr name="CS Dimmed Blue Mid">
      <a:srgbClr val="72869D"/>
    </a:custClr>
    <a:custClr name="CS Dimmed Blue Bright">
      <a:srgbClr val="A7BBD4"/>
    </a:custClr>
    <a:custClr name="CS Dimmed Blue Light">
      <a:srgbClr val="D7E4F6"/>
    </a:custClr>
    <a:custClr name="Credit Suisse White">
      <a:srgbClr val="FFFFFF"/>
    </a:custClr>
    <a:custClr name="CS Bold Blue Dark">
      <a:srgbClr val="002746"/>
    </a:custClr>
    <a:custClr name="CS Bold Blue Mid (Credit Suisse Blue)">
      <a:srgbClr val="003868"/>
    </a:custClr>
    <a:custClr name="CS Bold Blue Bright">
      <a:srgbClr val="265682"/>
    </a:custClr>
    <a:custClr name="CS Bold Blue Light">
      <a:srgbClr val="507CAB"/>
    </a:custClr>
    <a:custClr name="Credit Suisse White">
      <a:srgbClr val="FFFFFF"/>
    </a:custClr>
    <a:custClr name="CS Dimmed Gray Dark">
      <a:srgbClr val="82838C"/>
    </a:custClr>
    <a:custClr name="CS Dimmed Green Dark">
      <a:srgbClr val="687C72"/>
    </a:custClr>
    <a:custClr name="CS Dimmed Gold Dark">
      <a:srgbClr val="B79961"/>
    </a:custClr>
    <a:custClr name="CS Dimmed Bronze Dark">
      <a:srgbClr val="C08062"/>
    </a:custClr>
    <a:custClr name="CS Dimmed Red Dark">
      <a:srgbClr val="D7897F"/>
    </a:custClr>
    <a:custClr name="CS Bold Gray Dark">
      <a:srgbClr val="45464E"/>
    </a:custClr>
    <a:custClr name="CS Bold Green Dark">
      <a:srgbClr val="1C5038"/>
    </a:custClr>
    <a:custClr name="CS Bold Gold Dark">
      <a:srgbClr val="B27500"/>
    </a:custClr>
    <a:custClr name="CS Bold Bronze Dark">
      <a:srgbClr val="914927"/>
    </a:custClr>
    <a:custClr name="CS Bold Red Dark">
      <a:srgbClr val="B6413F"/>
    </a:custClr>
    <a:custClr name="CS Dimmed Gray Mid">
      <a:srgbClr val="9D9DA7"/>
    </a:custClr>
    <a:custClr name="CS Dimmed Green Mid">
      <a:srgbClr val="8EA298"/>
    </a:custClr>
    <a:custClr name="CS Dimmed Gold Mid">
      <a:srgbClr val="D0B481"/>
    </a:custClr>
    <a:custClr name="CS Dimmed Bronze Mid">
      <a:srgbClr val="D69E83"/>
    </a:custClr>
    <a:custClr name="CS Dimmed Red Mid">
      <a:srgbClr val="ECA69E"/>
    </a:custClr>
    <a:custClr name="CS Bold Gray Mid">
      <a:srgbClr val="5D5E66"/>
    </a:custClr>
    <a:custClr name="CS Bold Green Mid">
      <a:srgbClr val="35684F"/>
    </a:custClr>
    <a:custClr name="CS Bold Gold Mid">
      <a:srgbClr val="C28C00"/>
    </a:custClr>
    <a:custClr name="CS Bold Bronze Mid">
      <a:srgbClr val="AE623F"/>
    </a:custClr>
    <a:custClr name="CS Bold Red Mid">
      <a:srgbClr val="D45C56"/>
    </a:custClr>
    <a:custClr name="CS Dimmed Gray Bright">
      <a:srgbClr val="C5C6CF"/>
    </a:custClr>
    <a:custClr name="CS Dimmed Green Bright">
      <a:srgbClr val="B7CCC0"/>
    </a:custClr>
    <a:custClr name="CS Dimmed Gold Bright">
      <a:srgbClr val="E5D2AF"/>
    </a:custClr>
    <a:custClr name="CS Dimmed Bronze Bright">
      <a:srgbClr val="E6BDAB"/>
    </a:custClr>
    <a:custClr name="CS Dimmed Red Bright">
      <a:srgbClr val="E3BEB8"/>
    </a:custClr>
    <a:custClr name="CS Bold Gray Bright">
      <a:srgbClr val="82838C"/>
    </a:custClr>
    <a:custClr name="CS Bold Green Bright">
      <a:srgbClr val="4F8367"/>
    </a:custClr>
    <a:custClr name="CS Bold Gold Bright">
      <a:srgbClr val="EBAF34"/>
    </a:custClr>
    <a:custClr name="CS Bold Bronze Bright">
      <a:srgbClr val="CB7C56"/>
    </a:custClr>
    <a:custClr name="CS Bold Red Bright">
      <a:srgbClr val="F37870"/>
    </a:custClr>
    <a:custClr name="CS Dimmed Gray Light">
      <a:srgbClr val="E1E2EC"/>
    </a:custClr>
    <a:custClr name="CS Dimmed Green Light">
      <a:srgbClr val="DAE6DF"/>
    </a:custClr>
    <a:custClr name="CS Dimmed Gold Light">
      <a:srgbClr val="EDE1CF"/>
    </a:custClr>
    <a:custClr name="CS Dimmed Bronze Light">
      <a:srgbClr val="F3DFD4"/>
    </a:custClr>
    <a:custClr name="CS Dimmed Red Light">
      <a:srgbClr val="F7DDDA"/>
    </a:custClr>
    <a:custClr name="CS Bold Gray Light">
      <a:srgbClr val="9D9DA7"/>
    </a:custClr>
    <a:custClr name="CS Bold Green Light">
      <a:srgbClr val="689C80"/>
    </a:custClr>
    <a:custClr name="CS Bold Gold Light">
      <a:srgbClr val="F0C352"/>
    </a:custClr>
    <a:custClr name="CS Bold Bronze Light">
      <a:srgbClr val="E9966F"/>
    </a:custClr>
    <a:custClr name="CS Bold Red Light">
      <a:srgbClr val="FF9A90"/>
    </a:custClr>
  </a:custClrLst>
  <a:extLst>
    <a:ext uri="{05A4C25C-085E-4340-85A3-A5531E510DB2}">
      <thm15:themeFamily xmlns:thm15="http://schemas.microsoft.com/office/thememl/2012/main" name="Presentation1" id="{6C2D58E4-8957-4A95-9A2E-B28E6E1DD3B9}" vid="{79827883-AECB-4C06-838D-8A1624C04B8A}"/>
    </a:ext>
  </a:extLst>
</a:theme>
</file>

<file path=ppt/theme/theme5.xml><?xml version="1.0" encoding="utf-8"?>
<a:theme xmlns:a="http://schemas.openxmlformats.org/drawingml/2006/main" name=" Credit Suisse Bronze">
  <a:themeElements>
    <a:clrScheme name="Credit Suisse 2022 (bronze)">
      <a:dk1>
        <a:srgbClr val="000000"/>
      </a:dk1>
      <a:lt1>
        <a:sysClr val="window" lastClr="FFFFFF"/>
      </a:lt1>
      <a:dk2>
        <a:srgbClr val="003868"/>
      </a:dk2>
      <a:lt2>
        <a:srgbClr val="FFFFFF"/>
      </a:lt2>
      <a:accent1>
        <a:srgbClr val="914927"/>
      </a:accent1>
      <a:accent2>
        <a:srgbClr val="AE623F"/>
      </a:accent2>
      <a:accent3>
        <a:srgbClr val="CB7C56"/>
      </a:accent3>
      <a:accent4>
        <a:srgbClr val="E9966F"/>
      </a:accent4>
      <a:accent5>
        <a:srgbClr val="82838C"/>
      </a:accent5>
      <a:accent6>
        <a:srgbClr val="9D9DA7"/>
      </a:accent6>
      <a:hlink>
        <a:srgbClr val="000000"/>
      </a:hlink>
      <a:folHlink>
        <a:srgbClr val="000000"/>
      </a:folHlink>
    </a:clrScheme>
    <a:fontScheme name="Credit Suisse 2022">
      <a:majorFont>
        <a:latin typeface="Credit Suisse Headline"/>
        <a:ea typeface=""/>
        <a:cs typeface=""/>
      </a:majorFont>
      <a:minorFont>
        <a:latin typeface="Credit Suisse Type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/>
      <a:lstStyle>
        <a:defPPr marL="216000" indent="-216000" algn="l">
          <a:spcBef>
            <a:spcPts val="500"/>
          </a:spcBef>
          <a:buFont typeface="Wingdings" panose="05000000000000000000" pitchFamily="2" charset="2"/>
          <a:buChar char="§"/>
          <a:defRPr sz="16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>
          <a:spcBef>
            <a:spcPts val="500"/>
          </a:spcBef>
          <a:buFont typeface="Wingdings" panose="05000000000000000000" pitchFamily="2" charset="2"/>
          <a:buChar char="§"/>
          <a:defRPr sz="1600" dirty="0" smtClean="0"/>
        </a:defPPr>
      </a:lstStyle>
    </a:txDef>
  </a:objectDefaults>
  <a:extraClrSchemeLst/>
  <a:custClrLst>
    <a:custClr name="CS Dimmed Blue Dark">
      <a:srgbClr val="4E6177"/>
    </a:custClr>
    <a:custClr name="CS Dimmed Blue Mid">
      <a:srgbClr val="72869D"/>
    </a:custClr>
    <a:custClr name="CS Dimmed Blue Bright">
      <a:srgbClr val="A7BBD4"/>
    </a:custClr>
    <a:custClr name="CS Dimmed Blue Light">
      <a:srgbClr val="D7E4F6"/>
    </a:custClr>
    <a:custClr name="Credit Suisse White">
      <a:srgbClr val="FFFFFF"/>
    </a:custClr>
    <a:custClr name="CS Bold Blue Dark">
      <a:srgbClr val="002746"/>
    </a:custClr>
    <a:custClr name="CS Bold Blue Mid (Credit Suisse Blue)">
      <a:srgbClr val="003868"/>
    </a:custClr>
    <a:custClr name="CS Bold Blue Bright">
      <a:srgbClr val="265682"/>
    </a:custClr>
    <a:custClr name="CS Bold Blue Light">
      <a:srgbClr val="507CAB"/>
    </a:custClr>
    <a:custClr name="Credit Suisse White">
      <a:srgbClr val="FFFFFF"/>
    </a:custClr>
    <a:custClr name="CS Dimmed Gray Dark">
      <a:srgbClr val="82838C"/>
    </a:custClr>
    <a:custClr name="CS Dimmed Green Dark">
      <a:srgbClr val="687C72"/>
    </a:custClr>
    <a:custClr name="CS Dimmed Gold Dark">
      <a:srgbClr val="B79961"/>
    </a:custClr>
    <a:custClr name="CS Dimmed Bronze Dark">
      <a:srgbClr val="C08062"/>
    </a:custClr>
    <a:custClr name="CS Dimmed Red Dark">
      <a:srgbClr val="D7897F"/>
    </a:custClr>
    <a:custClr name="CS Bold Gray Dark">
      <a:srgbClr val="45464E"/>
    </a:custClr>
    <a:custClr name="CS Bold Green Dark">
      <a:srgbClr val="1C5038"/>
    </a:custClr>
    <a:custClr name="CS Bold Gold Dark">
      <a:srgbClr val="B27500"/>
    </a:custClr>
    <a:custClr name="CS Bold Bronze Dark">
      <a:srgbClr val="914927"/>
    </a:custClr>
    <a:custClr name="CS Bold Red Dark">
      <a:srgbClr val="B6413F"/>
    </a:custClr>
    <a:custClr name="CS Dimmed Gray Mid">
      <a:srgbClr val="9D9DA7"/>
    </a:custClr>
    <a:custClr name="CS Dimmed Green Mid">
      <a:srgbClr val="8EA298"/>
    </a:custClr>
    <a:custClr name="CS Dimmed Gold Mid">
      <a:srgbClr val="D0B481"/>
    </a:custClr>
    <a:custClr name="CS Dimmed Bronze Mid">
      <a:srgbClr val="D69E83"/>
    </a:custClr>
    <a:custClr name="CS Dimmed Red Mid">
      <a:srgbClr val="ECA69E"/>
    </a:custClr>
    <a:custClr name="CS Bold Gray Mid">
      <a:srgbClr val="5D5E66"/>
    </a:custClr>
    <a:custClr name="CS Bold Green Mid">
      <a:srgbClr val="35684F"/>
    </a:custClr>
    <a:custClr name="CS Bold Gold Mid">
      <a:srgbClr val="C28C00"/>
    </a:custClr>
    <a:custClr name="CS Bold Bronze Mid">
      <a:srgbClr val="AE623F"/>
    </a:custClr>
    <a:custClr name="CS Bold Red Mid">
      <a:srgbClr val="D45C56"/>
    </a:custClr>
    <a:custClr name="CS Dimmed Gray Bright">
      <a:srgbClr val="C5C6CF"/>
    </a:custClr>
    <a:custClr name="CS Dimmed Green Bright">
      <a:srgbClr val="B7CCC0"/>
    </a:custClr>
    <a:custClr name="CS Dimmed Gold Bright">
      <a:srgbClr val="E5D2AF"/>
    </a:custClr>
    <a:custClr name="CS Dimmed Bronze Bright">
      <a:srgbClr val="E6BDAB"/>
    </a:custClr>
    <a:custClr name="CS Dimmed Red Bright">
      <a:srgbClr val="E3BEB8"/>
    </a:custClr>
    <a:custClr name="CS Bold Gray Bright">
      <a:srgbClr val="82838C"/>
    </a:custClr>
    <a:custClr name="CS Bold Green Bright">
      <a:srgbClr val="4F8367"/>
    </a:custClr>
    <a:custClr name="CS Bold Gold Bright">
      <a:srgbClr val="EBAF34"/>
    </a:custClr>
    <a:custClr name="CS Bold Bronze Bright">
      <a:srgbClr val="CB7C56"/>
    </a:custClr>
    <a:custClr name="CS Bold Red Bright">
      <a:srgbClr val="F37870"/>
    </a:custClr>
    <a:custClr name="CS Dimmed Gray Light">
      <a:srgbClr val="E1E2EC"/>
    </a:custClr>
    <a:custClr name="CS Dimmed Green Light">
      <a:srgbClr val="DAE6DF"/>
    </a:custClr>
    <a:custClr name="CS Dimmed Gold Light">
      <a:srgbClr val="EDE1CF"/>
    </a:custClr>
    <a:custClr name="CS Dimmed Bronze Light">
      <a:srgbClr val="F3DFD4"/>
    </a:custClr>
    <a:custClr name="CS Dimmed Red Light">
      <a:srgbClr val="F7DDDA"/>
    </a:custClr>
    <a:custClr name="CS Bold Gray Light">
      <a:srgbClr val="9D9DA7"/>
    </a:custClr>
    <a:custClr name="CS Bold Green Light">
      <a:srgbClr val="689C80"/>
    </a:custClr>
    <a:custClr name="CS Bold Gold Light">
      <a:srgbClr val="F0C352"/>
    </a:custClr>
    <a:custClr name="CS Bold Bronze Light">
      <a:srgbClr val="E9966F"/>
    </a:custClr>
    <a:custClr name="CS Bold Red Light">
      <a:srgbClr val="FF9A90"/>
    </a:custClr>
  </a:custClrLst>
  <a:extLst>
    <a:ext uri="{05A4C25C-085E-4340-85A3-A5531E510DB2}">
      <thm15:themeFamily xmlns:thm15="http://schemas.microsoft.com/office/thememl/2012/main" name="Presentation1" id="{6C2D58E4-8957-4A95-9A2E-B28E6E1DD3B9}" vid="{38B478B3-1592-43D6-A5FC-6FC7E244CB30}"/>
    </a:ext>
  </a:extLst>
</a:theme>
</file>

<file path=ppt/theme/theme6.xml><?xml version="1.0" encoding="utf-8"?>
<a:theme xmlns:a="http://schemas.openxmlformats.org/drawingml/2006/main" name=" Credit Suisse Red">
  <a:themeElements>
    <a:clrScheme name="Credit Suisse 2022 (red)">
      <a:dk1>
        <a:srgbClr val="000000"/>
      </a:dk1>
      <a:lt1>
        <a:sysClr val="window" lastClr="FFFFFF"/>
      </a:lt1>
      <a:dk2>
        <a:srgbClr val="003868"/>
      </a:dk2>
      <a:lt2>
        <a:srgbClr val="FFFFFF"/>
      </a:lt2>
      <a:accent1>
        <a:srgbClr val="B6413F"/>
      </a:accent1>
      <a:accent2>
        <a:srgbClr val="D45C56"/>
      </a:accent2>
      <a:accent3>
        <a:srgbClr val="F37870"/>
      </a:accent3>
      <a:accent4>
        <a:srgbClr val="FF9A90"/>
      </a:accent4>
      <a:accent5>
        <a:srgbClr val="82838C"/>
      </a:accent5>
      <a:accent6>
        <a:srgbClr val="9D9DA7"/>
      </a:accent6>
      <a:hlink>
        <a:srgbClr val="000000"/>
      </a:hlink>
      <a:folHlink>
        <a:srgbClr val="000000"/>
      </a:folHlink>
    </a:clrScheme>
    <a:fontScheme name="Credit Suisse 2022">
      <a:majorFont>
        <a:latin typeface="Credit Suisse Headline"/>
        <a:ea typeface=""/>
        <a:cs typeface=""/>
      </a:majorFont>
      <a:minorFont>
        <a:latin typeface="Credit Suisse Type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/>
      <a:lstStyle>
        <a:defPPr marL="216000" indent="-216000" algn="l">
          <a:spcBef>
            <a:spcPts val="500"/>
          </a:spcBef>
          <a:buFont typeface="Wingdings" panose="05000000000000000000" pitchFamily="2" charset="2"/>
          <a:buChar char="§"/>
          <a:defRPr sz="16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>
          <a:spcBef>
            <a:spcPts val="500"/>
          </a:spcBef>
          <a:buFont typeface="Wingdings" panose="05000000000000000000" pitchFamily="2" charset="2"/>
          <a:buChar char="§"/>
          <a:defRPr sz="1600" dirty="0" smtClean="0"/>
        </a:defPPr>
      </a:lstStyle>
    </a:txDef>
  </a:objectDefaults>
  <a:extraClrSchemeLst/>
  <a:custClrLst>
    <a:custClr name="CS Dimmed Blue Dark">
      <a:srgbClr val="4E6177"/>
    </a:custClr>
    <a:custClr name="CS Dimmed Blue Mid">
      <a:srgbClr val="72869D"/>
    </a:custClr>
    <a:custClr name="CS Dimmed Blue Bright">
      <a:srgbClr val="A7BBD4"/>
    </a:custClr>
    <a:custClr name="CS Dimmed Blue Light">
      <a:srgbClr val="D7E4F6"/>
    </a:custClr>
    <a:custClr name="Credit Suisse White">
      <a:srgbClr val="FFFFFF"/>
    </a:custClr>
    <a:custClr name="CS Bold Blue Dark">
      <a:srgbClr val="002746"/>
    </a:custClr>
    <a:custClr name="CS Bold Blue Mid (Credit Suisse Blue)">
      <a:srgbClr val="003868"/>
    </a:custClr>
    <a:custClr name="CS Bold Blue Bright">
      <a:srgbClr val="265682"/>
    </a:custClr>
    <a:custClr name="CS Bold Blue Light">
      <a:srgbClr val="507CAB"/>
    </a:custClr>
    <a:custClr name="Credit Suisse White">
      <a:srgbClr val="FFFFFF"/>
    </a:custClr>
    <a:custClr name="CS Dimmed Gray Dark">
      <a:srgbClr val="82838C"/>
    </a:custClr>
    <a:custClr name="CS Dimmed Green Dark">
      <a:srgbClr val="687C72"/>
    </a:custClr>
    <a:custClr name="CS Dimmed Gold Dark">
      <a:srgbClr val="B79961"/>
    </a:custClr>
    <a:custClr name="CS Dimmed Bronze Dark">
      <a:srgbClr val="C08062"/>
    </a:custClr>
    <a:custClr name="CS Dimmed Red Dark">
      <a:srgbClr val="D7897F"/>
    </a:custClr>
    <a:custClr name="CS Bold Gray Dark">
      <a:srgbClr val="45464E"/>
    </a:custClr>
    <a:custClr name="CS Bold Green Dark">
      <a:srgbClr val="1C5038"/>
    </a:custClr>
    <a:custClr name="CS Bold Gold Dark">
      <a:srgbClr val="B27500"/>
    </a:custClr>
    <a:custClr name="CS Bold Bronze Dark">
      <a:srgbClr val="914927"/>
    </a:custClr>
    <a:custClr name="CS Bold Red Dark">
      <a:srgbClr val="B6413F"/>
    </a:custClr>
    <a:custClr name="CS Dimmed Gray Mid">
      <a:srgbClr val="9D9DA7"/>
    </a:custClr>
    <a:custClr name="CS Dimmed Green Mid">
      <a:srgbClr val="8EA298"/>
    </a:custClr>
    <a:custClr name="CS Dimmed Gold Mid">
      <a:srgbClr val="D0B481"/>
    </a:custClr>
    <a:custClr name="CS Dimmed Bronze Mid">
      <a:srgbClr val="D69E83"/>
    </a:custClr>
    <a:custClr name="CS Dimmed Red Mid">
      <a:srgbClr val="ECA69E"/>
    </a:custClr>
    <a:custClr name="CS Bold Gray Mid">
      <a:srgbClr val="5D5E66"/>
    </a:custClr>
    <a:custClr name="CS Bold Green Mid">
      <a:srgbClr val="35684F"/>
    </a:custClr>
    <a:custClr name="CS Bold Gold Mid">
      <a:srgbClr val="C28C00"/>
    </a:custClr>
    <a:custClr name="CS Bold Bronze Mid">
      <a:srgbClr val="AE623F"/>
    </a:custClr>
    <a:custClr name="CS Bold Red Mid">
      <a:srgbClr val="D45C56"/>
    </a:custClr>
    <a:custClr name="CS Dimmed Gray Bright">
      <a:srgbClr val="C5C6CF"/>
    </a:custClr>
    <a:custClr name="CS Dimmed Green Bright">
      <a:srgbClr val="B7CCC0"/>
    </a:custClr>
    <a:custClr name="CS Dimmed Gold Bright">
      <a:srgbClr val="E5D2AF"/>
    </a:custClr>
    <a:custClr name="CS Dimmed Bronze Bright">
      <a:srgbClr val="E6BDAB"/>
    </a:custClr>
    <a:custClr name="CS Dimmed Red Bright">
      <a:srgbClr val="E3BEB8"/>
    </a:custClr>
    <a:custClr name="CS Bold Gray Bright">
      <a:srgbClr val="82838C"/>
    </a:custClr>
    <a:custClr name="CS Bold Green Bright">
      <a:srgbClr val="4F8367"/>
    </a:custClr>
    <a:custClr name="CS Bold Gold Bright">
      <a:srgbClr val="EBAF34"/>
    </a:custClr>
    <a:custClr name="CS Bold Bronze Bright">
      <a:srgbClr val="CB7C56"/>
    </a:custClr>
    <a:custClr name="CS Bold Red Bright">
      <a:srgbClr val="F37870"/>
    </a:custClr>
    <a:custClr name="CS Dimmed Gray Light">
      <a:srgbClr val="E1E2EC"/>
    </a:custClr>
    <a:custClr name="CS Dimmed Green Light">
      <a:srgbClr val="DAE6DF"/>
    </a:custClr>
    <a:custClr name="CS Dimmed Gold Light">
      <a:srgbClr val="EDE1CF"/>
    </a:custClr>
    <a:custClr name="CS Dimmed Bronze Light">
      <a:srgbClr val="F3DFD4"/>
    </a:custClr>
    <a:custClr name="CS Dimmed Red Light">
      <a:srgbClr val="F7DDDA"/>
    </a:custClr>
    <a:custClr name="CS Bold Gray Light">
      <a:srgbClr val="9D9DA7"/>
    </a:custClr>
    <a:custClr name="CS Bold Green Light">
      <a:srgbClr val="689C80"/>
    </a:custClr>
    <a:custClr name="CS Bold Gold Light">
      <a:srgbClr val="F0C352"/>
    </a:custClr>
    <a:custClr name="CS Bold Bronze Light">
      <a:srgbClr val="E9966F"/>
    </a:custClr>
    <a:custClr name="CS Bold Red Light">
      <a:srgbClr val="FF9A90"/>
    </a:custClr>
  </a:custClrLst>
  <a:extLst>
    <a:ext uri="{05A4C25C-085E-4340-85A3-A5531E510DB2}">
      <thm15:themeFamily xmlns:thm15="http://schemas.microsoft.com/office/thememl/2012/main" name="Presentation1" id="{6C2D58E4-8957-4A95-9A2E-B28E6E1DD3B9}" vid="{C1C342C6-D664-4ED3-88E3-42C22834162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78</TotalTime>
  <Words>405</Words>
  <Application>Microsoft Office PowerPoint</Application>
  <PresentationFormat>Widescreen</PresentationFormat>
  <Paragraphs>57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9" baseType="lpstr">
      <vt:lpstr>Credit Suisse Headline</vt:lpstr>
      <vt:lpstr>Wingdings</vt:lpstr>
      <vt:lpstr>Credit Suisse Type Light</vt:lpstr>
      <vt:lpstr>Arial</vt:lpstr>
      <vt:lpstr>Credit Suisse Type Roman</vt:lpstr>
      <vt:lpstr>Credit Suisse Blue</vt:lpstr>
      <vt:lpstr> Credit Suisse Gray</vt:lpstr>
      <vt:lpstr> Credit Suisse Green</vt:lpstr>
      <vt:lpstr> Credit Suisse Gold</vt:lpstr>
      <vt:lpstr> Credit Suisse Bronze</vt:lpstr>
      <vt:lpstr> Credit Suisse Red</vt:lpstr>
      <vt:lpstr>think-cell Slide</vt:lpstr>
      <vt:lpstr>Automatic Minutes of Meeting - MoMBot</vt:lpstr>
      <vt:lpstr>PowerPoint Presentation</vt:lpstr>
      <vt:lpstr>PowerPoint Presentation</vt:lpstr>
      <vt:lpstr>Technology Stack used for MoMBot</vt:lpstr>
      <vt:lpstr>How it works?</vt:lpstr>
      <vt:lpstr>Day 2 – Enhancements (as Rome was not built in 2 days )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nutes of Meeting Bot</dc:title>
  <dc:creator>Kolte, Surabhi A. (MBOJ 816)</dc:creator>
  <cp:lastModifiedBy>Wadhwani, Vikas H. (MBOJ 816)</cp:lastModifiedBy>
  <cp:revision>35</cp:revision>
  <dcterms:created xsi:type="dcterms:W3CDTF">2022-09-19T08:42:57Z</dcterms:created>
  <dcterms:modified xsi:type="dcterms:W3CDTF">2022-09-23T05:15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3732d58-8c18-4bab-8f62-1159a69060e9_Enabled">
    <vt:lpwstr>True</vt:lpwstr>
  </property>
  <property fmtid="{D5CDD505-2E9C-101B-9397-08002B2CF9AE}" pid="3" name="MSIP_Label_f3732d58-8c18-4bab-8f62-1159a69060e9_SiteId">
    <vt:lpwstr>d0df3d96-c065-41c3-8c0b-5dcaa460ec33</vt:lpwstr>
  </property>
  <property fmtid="{D5CDD505-2E9C-101B-9397-08002B2CF9AE}" pid="4" name="MSIP_Label_f3732d58-8c18-4bab-8f62-1159a69060e9_Owner">
    <vt:lpwstr>mark.s.hirst@credit-suisse.com</vt:lpwstr>
  </property>
  <property fmtid="{D5CDD505-2E9C-101B-9397-08002B2CF9AE}" pid="5" name="MSIP_Label_f3732d58-8c18-4bab-8f62-1159a69060e9_SetDate">
    <vt:lpwstr>2022-04-04T13:13:03.3712888Z</vt:lpwstr>
  </property>
  <property fmtid="{D5CDD505-2E9C-101B-9397-08002B2CF9AE}" pid="6" name="MSIP_Label_f3732d58-8c18-4bab-8f62-1159a69060e9_Name">
    <vt:lpwstr>Unrestricted</vt:lpwstr>
  </property>
  <property fmtid="{D5CDD505-2E9C-101B-9397-08002B2CF9AE}" pid="7" name="MSIP_Label_f3732d58-8c18-4bab-8f62-1159a69060e9_Application">
    <vt:lpwstr>Microsoft Azure Information Protection</vt:lpwstr>
  </property>
  <property fmtid="{D5CDD505-2E9C-101B-9397-08002B2CF9AE}" pid="8" name="MSIP_Label_f3732d58-8c18-4bab-8f62-1159a69060e9_ActionId">
    <vt:lpwstr>cdd4ec03-ee88-4f3c-9252-298768d1c3b6</vt:lpwstr>
  </property>
  <property fmtid="{D5CDD505-2E9C-101B-9397-08002B2CF9AE}" pid="9" name="MSIP_Label_f3732d58-8c18-4bab-8f62-1159a69060e9_Extended_MSFT_Method">
    <vt:lpwstr>Manual</vt:lpwstr>
  </property>
  <property fmtid="{D5CDD505-2E9C-101B-9397-08002B2CF9AE}" pid="10" name="Sensitivity">
    <vt:lpwstr>Unrestricted</vt:lpwstr>
  </property>
</Properties>
</file>